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7" r:id="rId2"/>
    <p:sldMasterId id="2147483691" r:id="rId3"/>
    <p:sldMasterId id="2147483765" r:id="rId4"/>
    <p:sldMasterId id="2147483879" r:id="rId5"/>
    <p:sldMasterId id="2147483893" r:id="rId6"/>
    <p:sldMasterId id="2147483908" r:id="rId7"/>
  </p:sldMasterIdLst>
  <p:notesMasterIdLst>
    <p:notesMasterId r:id="rId26"/>
  </p:notesMasterIdLst>
  <p:handoutMasterIdLst>
    <p:handoutMasterId r:id="rId27"/>
  </p:handoutMasterIdLst>
  <p:sldIdLst>
    <p:sldId id="1019" r:id="rId8"/>
    <p:sldId id="971" r:id="rId9"/>
    <p:sldId id="970" r:id="rId10"/>
    <p:sldId id="966" r:id="rId11"/>
    <p:sldId id="1025" r:id="rId12"/>
    <p:sldId id="1026" r:id="rId13"/>
    <p:sldId id="1027" r:id="rId14"/>
    <p:sldId id="1024" r:id="rId15"/>
    <p:sldId id="1028" r:id="rId16"/>
    <p:sldId id="1029" r:id="rId17"/>
    <p:sldId id="1000" r:id="rId18"/>
    <p:sldId id="1001" r:id="rId19"/>
    <p:sldId id="1002" r:id="rId20"/>
    <p:sldId id="1003" r:id="rId21"/>
    <p:sldId id="1015" r:id="rId22"/>
    <p:sldId id="995" r:id="rId23"/>
    <p:sldId id="1023" r:id="rId24"/>
    <p:sldId id="983" r:id="rId25"/>
  </p:sldIdLst>
  <p:sldSz cx="12192000" cy="6858000"/>
  <p:notesSz cx="7315200" cy="96012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3F1EE"/>
    <a:srgbClr val="505050"/>
    <a:srgbClr val="17B5DC"/>
    <a:srgbClr val="7A7A7A"/>
    <a:srgbClr val="EF6C19"/>
    <a:srgbClr val="1E1E1E"/>
    <a:srgbClr val="FF860E"/>
    <a:srgbClr val="FF91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61" autoAdjust="0"/>
    <p:restoredTop sz="58465" autoAdjust="0"/>
  </p:normalViewPr>
  <p:slideViewPr>
    <p:cSldViewPr snapToGrid="0" snapToObjects="1">
      <p:cViewPr varScale="1">
        <p:scale>
          <a:sx n="74" d="100"/>
          <a:sy n="74" d="100"/>
        </p:scale>
        <p:origin x="108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9" d="100"/>
        <a:sy n="49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2.emf"/></Relationships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 Ignite is about gigabit applications.  We’ve demonstrated more than 50 at our Applications Summits.  The most recent was SmartFuture2015</a:t>
            </a:r>
            <a:r>
              <a:rPr lang="en-US" baseline="0" dirty="0"/>
              <a:t> last year in March.  The next is scheduled for June of this year.</a:t>
            </a:r>
          </a:p>
          <a:p>
            <a:endParaRPr lang="en-US" baseline="0" dirty="0"/>
          </a:p>
          <a:p>
            <a:r>
              <a:rPr lang="en-US" baseline="0" dirty="0"/>
              <a:t>We want to take the US Ignite applications from demonstrations to prototype </a:t>
            </a:r>
            <a:r>
              <a:rPr lang="en-US" baseline="0" dirty="0" err="1"/>
              <a:t>widescale</a:t>
            </a:r>
            <a:r>
              <a:rPr lang="en-US" baseline="0" dirty="0"/>
              <a:t> but still pre-commercial deployment.  That’s the point of (change slide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460517-2DAD-284C-A4CE-27646153A0A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267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image" Target="../media/image15.png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18" Type="http://schemas.openxmlformats.org/officeDocument/2006/relationships/image" Target="../media/image5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17" Type="http://schemas.openxmlformats.org/officeDocument/2006/relationships/image" Target="../media/image49.png"/><Relationship Id="rId2" Type="http://schemas.openxmlformats.org/officeDocument/2006/relationships/image" Target="../media/image34.png"/><Relationship Id="rId16" Type="http://schemas.openxmlformats.org/officeDocument/2006/relationships/image" Target="../media/image4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19" Type="http://schemas.openxmlformats.org/officeDocument/2006/relationships/image" Target="../media/image51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18" Type="http://schemas.openxmlformats.org/officeDocument/2006/relationships/image" Target="../media/image68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17" Type="http://schemas.openxmlformats.org/officeDocument/2006/relationships/image" Target="../media/image67.png"/><Relationship Id="rId2" Type="http://schemas.openxmlformats.org/officeDocument/2006/relationships/image" Target="../media/image52.png"/><Relationship Id="rId16" Type="http://schemas.openxmlformats.org/officeDocument/2006/relationships/image" Target="../media/image6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5" Type="http://schemas.openxmlformats.org/officeDocument/2006/relationships/image" Target="../media/image55.png"/><Relationship Id="rId15" Type="http://schemas.openxmlformats.org/officeDocument/2006/relationships/image" Target="../media/image65.png"/><Relationship Id="rId10" Type="http://schemas.openxmlformats.org/officeDocument/2006/relationships/image" Target="../media/image60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4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9.jp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pn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80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8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7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USIgniteHero_4-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6308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>
            <a:off x="4252153" y="0"/>
            <a:ext cx="7950116" cy="680476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84000">
                <a:schemeClr val="tx1">
                  <a:alpha val="37000"/>
                </a:schemeClr>
              </a:gs>
              <a:gs pos="45000">
                <a:schemeClr val="tx1">
                  <a:alpha val="4000"/>
                </a:schemeClr>
              </a:gs>
            </a:gsLst>
            <a:lin ang="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2" y="6804759"/>
            <a:ext cx="12202263" cy="62648"/>
          </a:xfrm>
          <a:prstGeom prst="rect">
            <a:avLst/>
          </a:prstGeom>
          <a:solidFill>
            <a:srgbClr val="FF6C0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32" name="Title 1"/>
          <p:cNvSpPr>
            <a:spLocks noGrp="1"/>
          </p:cNvSpPr>
          <p:nvPr>
            <p:ph type="ctrTitle" hasCustomPrompt="1"/>
          </p:nvPr>
        </p:nvSpPr>
        <p:spPr>
          <a:xfrm>
            <a:off x="6096019" y="2927701"/>
            <a:ext cx="5266327" cy="1931541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lnSpc>
                <a:spcPct val="90000"/>
              </a:lnSpc>
              <a:defRPr sz="4200" b="1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Title of the Presentation</a:t>
            </a: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4859244"/>
            <a:ext cx="5266267" cy="6159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22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75" y="5475195"/>
            <a:ext cx="5266267" cy="6159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800" baseline="0">
                <a:solidFill>
                  <a:srgbClr val="FFA62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June 20, 2014</a:t>
            </a:r>
          </a:p>
          <a:p>
            <a:pPr lvl="0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6133643" y="0"/>
            <a:ext cx="5381037" cy="177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11" name="Picture 10" descr="us-ignite-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5405" y="77944"/>
            <a:ext cx="4763523" cy="168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5747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-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6"/>
          </p:nvPr>
        </p:nvSpPr>
        <p:spPr>
          <a:xfrm>
            <a:off x="1355203" y="1931657"/>
            <a:ext cx="1478776" cy="129508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7"/>
          </p:nvPr>
        </p:nvSpPr>
        <p:spPr>
          <a:xfrm>
            <a:off x="5258647" y="1931657"/>
            <a:ext cx="1478776" cy="129508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8"/>
          </p:nvPr>
        </p:nvSpPr>
        <p:spPr>
          <a:xfrm>
            <a:off x="9297563" y="1931657"/>
            <a:ext cx="1478776" cy="129508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4445102" y="3392315"/>
            <a:ext cx="3281521" cy="25907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30000"/>
              </a:lnSpc>
              <a:buNone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30000"/>
              </a:lnSpc>
              <a:buNone/>
              <a:defRPr sz="15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96845" y="3392315"/>
            <a:ext cx="3281521" cy="25907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30000"/>
              </a:lnSpc>
              <a:buNone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30000"/>
              </a:lnSpc>
              <a:buNone/>
              <a:defRPr sz="15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356760" y="3392315"/>
            <a:ext cx="3281521" cy="25907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30000"/>
              </a:lnSpc>
              <a:buNone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30000"/>
              </a:lnSpc>
              <a:buNone/>
              <a:defRPr sz="15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0522170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 -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or Icons</a:t>
            </a:r>
          </a:p>
        </p:txBody>
      </p:sp>
      <p:sp>
        <p:nvSpPr>
          <p:cNvPr id="3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76" name="Text Placehold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1458568" y="4642556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ENERGY</a:t>
            </a:r>
          </a:p>
        </p:txBody>
      </p:sp>
      <p:sp>
        <p:nvSpPr>
          <p:cNvPr id="77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1458568" y="2960513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HEALTH</a:t>
            </a:r>
          </a:p>
        </p:txBody>
      </p:sp>
      <p:sp>
        <p:nvSpPr>
          <p:cNvPr id="78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4662513" y="4642556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MANUFACTURING</a:t>
            </a:r>
          </a:p>
        </p:txBody>
      </p:sp>
      <p:sp>
        <p:nvSpPr>
          <p:cNvPr id="79" name="Text Placeholder 17"/>
          <p:cNvSpPr>
            <a:spLocks noGrp="1"/>
          </p:cNvSpPr>
          <p:nvPr>
            <p:ph type="body" sz="quarter" idx="34" hasCustomPrompt="1"/>
          </p:nvPr>
        </p:nvSpPr>
        <p:spPr>
          <a:xfrm>
            <a:off x="4662513" y="2947811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TRANSPORTATION</a:t>
            </a:r>
          </a:p>
        </p:txBody>
      </p:sp>
      <p:pic>
        <p:nvPicPr>
          <p:cNvPr id="80" name="Picture 79" descr="energ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666" y="3791655"/>
            <a:ext cx="1032933" cy="774700"/>
          </a:xfrm>
          <a:prstGeom prst="rect">
            <a:avLst/>
          </a:prstGeom>
        </p:spPr>
      </p:pic>
      <p:pic>
        <p:nvPicPr>
          <p:cNvPr id="81" name="Picture 80" descr="health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666" y="2109612"/>
            <a:ext cx="1032933" cy="774700"/>
          </a:xfrm>
          <a:prstGeom prst="rect">
            <a:avLst/>
          </a:prstGeom>
        </p:spPr>
      </p:pic>
      <p:pic>
        <p:nvPicPr>
          <p:cNvPr id="82" name="Picture 81" descr="manufacturing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4611" y="3791655"/>
            <a:ext cx="1032933" cy="774700"/>
          </a:xfrm>
          <a:prstGeom prst="rect">
            <a:avLst/>
          </a:prstGeom>
        </p:spPr>
      </p:pic>
      <p:pic>
        <p:nvPicPr>
          <p:cNvPr id="83" name="Picture 82" descr="transportation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4611" y="2096910"/>
            <a:ext cx="1032933" cy="774700"/>
          </a:xfrm>
          <a:prstGeom prst="rect">
            <a:avLst/>
          </a:prstGeom>
        </p:spPr>
      </p:pic>
      <p:sp>
        <p:nvSpPr>
          <p:cNvPr id="84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7791635" y="4642556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GENERAL</a:t>
            </a:r>
          </a:p>
        </p:txBody>
      </p:sp>
      <p:pic>
        <p:nvPicPr>
          <p:cNvPr id="85" name="Picture 84" descr="general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3732" y="3791655"/>
            <a:ext cx="1032933" cy="774700"/>
          </a:xfrm>
          <a:prstGeom prst="rect">
            <a:avLst/>
          </a:prstGeom>
        </p:spPr>
      </p:pic>
      <p:sp>
        <p:nvSpPr>
          <p:cNvPr id="86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7791635" y="2960513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Public SAFETY</a:t>
            </a:r>
          </a:p>
        </p:txBody>
      </p:sp>
      <p:pic>
        <p:nvPicPr>
          <p:cNvPr id="87" name="Picture 86" descr="public-safet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3732" y="2109612"/>
            <a:ext cx="1032933" cy="77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7050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11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884799338"/>
              </p:ext>
            </p:extLst>
          </p:nvPr>
        </p:nvGraphicFramePr>
        <p:xfrm>
          <a:off x="456355" y="1818037"/>
          <a:ext cx="10620587" cy="4021626"/>
        </p:xfrm>
        <a:graphic>
          <a:graphicData uri="http://schemas.openxmlformats.org/drawingml/2006/table">
            <a:tbl>
              <a:tblPr firstRow="1" firstCol="1">
                <a:tableStyleId>{2D5ABB26-0587-4C30-8999-92F81FD0307C}</a:tableStyleId>
              </a:tblPr>
              <a:tblGrid>
                <a:gridCol w="26551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51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551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551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702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900" b="0" spc="0" baseline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84560" marR="84560" marT="42279" marB="42279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spc="0" dirty="0">
                          <a:solidFill>
                            <a:schemeClr val="tx2"/>
                          </a:solidFill>
                        </a:rPr>
                        <a:t>Column title</a:t>
                      </a:r>
                      <a:endParaRPr lang="en-US" sz="1900" b="1" kern="1200" spc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spc="0" dirty="0">
                          <a:solidFill>
                            <a:schemeClr val="tx2"/>
                          </a:solidFill>
                        </a:rPr>
                        <a:t>Column title</a:t>
                      </a:r>
                      <a:endParaRPr lang="en-US" sz="1900" b="1" spc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84560" marR="84560" marT="42279" marB="42279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spc="0" dirty="0">
                          <a:solidFill>
                            <a:schemeClr val="tx2"/>
                          </a:solidFill>
                        </a:rPr>
                        <a:t>Column title</a:t>
                      </a:r>
                      <a:endParaRPr lang="en-US" sz="1900" b="1" spc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84560" marR="84560" marT="42279" marB="42279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02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kern="1200" dirty="0">
                          <a:solidFill>
                            <a:schemeClr val="tx2"/>
                          </a:solidFill>
                        </a:rPr>
                        <a:t>Row title</a:t>
                      </a:r>
                      <a:endParaRPr lang="en-US" sz="17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02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kern="1200" dirty="0">
                          <a:solidFill>
                            <a:schemeClr val="tx2"/>
                          </a:solidFill>
                        </a:rPr>
                        <a:t>Row title</a:t>
                      </a:r>
                      <a:endParaRPr lang="en-US" sz="17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02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kern="1200" dirty="0">
                          <a:solidFill>
                            <a:schemeClr val="tx2"/>
                          </a:solidFill>
                        </a:rPr>
                        <a:t>Row title</a:t>
                      </a:r>
                      <a:endParaRPr lang="en-US" sz="17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02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kern="1200" dirty="0">
                          <a:solidFill>
                            <a:schemeClr val="tx2"/>
                          </a:solidFill>
                        </a:rPr>
                        <a:t>Row title</a:t>
                      </a:r>
                      <a:endParaRPr lang="en-US" sz="17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702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kern="1200" dirty="0">
                          <a:solidFill>
                            <a:schemeClr val="tx2"/>
                          </a:solidFill>
                        </a:rPr>
                        <a:t>Row title</a:t>
                      </a:r>
                      <a:endParaRPr lang="en-US" sz="17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</a:rPr>
                        <a:t>$00.00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560" marR="84560" marT="42279" marB="4227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Table Example 1, Title He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able Subtitle Goes Here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456352" y="5869722"/>
            <a:ext cx="8592821" cy="366183"/>
          </a:xfrm>
          <a:prstGeom prst="rect">
            <a:avLst/>
          </a:prstGeom>
        </p:spPr>
        <p:txBody>
          <a:bodyPr lIns="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ource placeholder text</a:t>
            </a:r>
          </a:p>
        </p:txBody>
      </p:sp>
    </p:spTree>
    <p:extLst>
      <p:ext uri="{BB962C8B-B14F-4D97-AF65-F5344CB8AC3E}">
        <p14:creationId xmlns:p14="http://schemas.microsoft.com/office/powerpoint/2010/main" val="10144945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Table Example 2, Title He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able Subtitle Goes Her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56355" y="2740041"/>
            <a:ext cx="11192211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56355" y="4674936"/>
            <a:ext cx="11192211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456355" y="5296377"/>
            <a:ext cx="11192211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475164" y="1988143"/>
            <a:ext cx="0" cy="4157159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430352" y="1988143"/>
            <a:ext cx="0" cy="4157159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56356" y="2754136"/>
            <a:ext cx="8274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300"/>
              </a:spcBef>
              <a:spcAft>
                <a:spcPts val="1000"/>
              </a:spcAft>
            </a:pPr>
            <a:r>
              <a:rPr lang="en-US" sz="1200" b="1" dirty="0">
                <a:solidFill>
                  <a:schemeClr val="tx2"/>
                </a:solidFill>
              </a:rPr>
              <a:t>Row tit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6356" y="4689031"/>
            <a:ext cx="8274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300"/>
              </a:spcBef>
              <a:spcAft>
                <a:spcPts val="1000"/>
              </a:spcAft>
            </a:pPr>
            <a:r>
              <a:rPr lang="en-US" sz="1200" b="1" dirty="0">
                <a:solidFill>
                  <a:schemeClr val="tx2"/>
                </a:solidFill>
              </a:rPr>
              <a:t>Row titl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56356" y="5346288"/>
            <a:ext cx="8274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300"/>
              </a:spcBef>
              <a:spcAft>
                <a:spcPts val="1000"/>
              </a:spcAft>
            </a:pPr>
            <a:r>
              <a:rPr lang="en-US" sz="1200" b="1" dirty="0">
                <a:solidFill>
                  <a:schemeClr val="tx2"/>
                </a:solidFill>
              </a:rPr>
              <a:t>Row title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8280916" y="1988143"/>
            <a:ext cx="0" cy="4157159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589702" y="2408189"/>
            <a:ext cx="2737553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Bef>
                <a:spcPts val="300"/>
              </a:spcBef>
              <a:spcAft>
                <a:spcPts val="1000"/>
              </a:spcAft>
            </a:pPr>
            <a:r>
              <a:rPr lang="en-US" sz="1200" b="1" dirty="0">
                <a:solidFill>
                  <a:schemeClr val="tx2"/>
                </a:solidFill>
              </a:rPr>
              <a:t>Column title, can  be multi-lin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589702" y="2776322"/>
            <a:ext cx="2737553" cy="1349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1000"/>
              </a:spcAft>
            </a:pPr>
            <a:r>
              <a:rPr lang="en-US" sz="1000" dirty="0" err="1">
                <a:solidFill>
                  <a:schemeClr val="tx2"/>
                </a:solidFill>
              </a:rPr>
              <a:t>Lorem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ipsum</a:t>
            </a:r>
            <a:r>
              <a:rPr lang="en-US" sz="1000" dirty="0">
                <a:solidFill>
                  <a:schemeClr val="tx2"/>
                </a:solidFill>
              </a:rPr>
              <a:t> dolor sit </a:t>
            </a:r>
            <a:r>
              <a:rPr lang="en-US" sz="1000" dirty="0" err="1">
                <a:solidFill>
                  <a:schemeClr val="tx2"/>
                </a:solidFill>
              </a:rPr>
              <a:t>amet</a:t>
            </a:r>
            <a:r>
              <a:rPr lang="en-US" sz="1000" dirty="0">
                <a:solidFill>
                  <a:schemeClr val="tx2"/>
                </a:solidFill>
              </a:rPr>
              <a:t>, </a:t>
            </a:r>
            <a:r>
              <a:rPr lang="en-US" sz="1000" dirty="0" err="1">
                <a:solidFill>
                  <a:schemeClr val="tx2"/>
                </a:solidFill>
              </a:rPr>
              <a:t>consectetur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adipiscing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elit</a:t>
            </a:r>
            <a:r>
              <a:rPr lang="en-US" sz="1000" dirty="0">
                <a:solidFill>
                  <a:schemeClr val="tx2"/>
                </a:solidFill>
              </a:rPr>
              <a:t>.</a:t>
            </a:r>
          </a:p>
          <a:p>
            <a:pPr>
              <a:spcBef>
                <a:spcPts val="300"/>
              </a:spcBef>
              <a:spcAft>
                <a:spcPts val="1000"/>
              </a:spcAft>
            </a:pPr>
            <a:r>
              <a:rPr lang="en-US" sz="1000" dirty="0" err="1">
                <a:solidFill>
                  <a:schemeClr val="tx2"/>
                </a:solidFill>
              </a:rPr>
              <a:t>Suspendisse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congue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turpis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maximus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dignissim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posuere</a:t>
            </a:r>
            <a:r>
              <a:rPr lang="en-US" sz="1000" dirty="0">
                <a:solidFill>
                  <a:schemeClr val="tx2"/>
                </a:solidFill>
              </a:rPr>
              <a:t>.</a:t>
            </a:r>
          </a:p>
          <a:p>
            <a:pPr>
              <a:spcBef>
                <a:spcPts val="300"/>
              </a:spcBef>
              <a:spcAft>
                <a:spcPts val="1000"/>
              </a:spcAft>
            </a:pPr>
            <a:r>
              <a:rPr lang="en-US" sz="1000" dirty="0" err="1">
                <a:solidFill>
                  <a:schemeClr val="tx2"/>
                </a:solidFill>
              </a:rPr>
              <a:t>Quisque</a:t>
            </a:r>
            <a:r>
              <a:rPr lang="en-US" sz="1000" dirty="0">
                <a:solidFill>
                  <a:schemeClr val="tx2"/>
                </a:solidFill>
              </a:rPr>
              <a:t> sit </a:t>
            </a:r>
            <a:r>
              <a:rPr lang="en-US" sz="1000" dirty="0" err="1">
                <a:solidFill>
                  <a:schemeClr val="tx2"/>
                </a:solidFill>
              </a:rPr>
              <a:t>amet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justo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ultrices</a:t>
            </a:r>
            <a:r>
              <a:rPr lang="en-US" sz="1000" dirty="0">
                <a:solidFill>
                  <a:schemeClr val="tx2"/>
                </a:solidFill>
              </a:rPr>
              <a:t>, </a:t>
            </a:r>
            <a:r>
              <a:rPr lang="en-US" sz="1000" dirty="0" err="1">
                <a:solidFill>
                  <a:schemeClr val="tx2"/>
                </a:solidFill>
              </a:rPr>
              <a:t>finibus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massa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eu</a:t>
            </a:r>
            <a:r>
              <a:rPr lang="en-US" sz="10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584870" y="4674939"/>
            <a:ext cx="27423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1000"/>
              </a:spcAft>
            </a:pPr>
            <a:r>
              <a:rPr lang="en-US" sz="1000" dirty="0">
                <a:solidFill>
                  <a:schemeClr val="tx2"/>
                </a:solidFill>
              </a:rPr>
              <a:t>Integer </a:t>
            </a:r>
            <a:r>
              <a:rPr lang="en-US" sz="1000" dirty="0" err="1">
                <a:solidFill>
                  <a:schemeClr val="tx2"/>
                </a:solidFill>
              </a:rPr>
              <a:t>sed</a:t>
            </a:r>
            <a:r>
              <a:rPr lang="en-US" sz="1000" dirty="0">
                <a:solidFill>
                  <a:schemeClr val="tx2"/>
                </a:solidFill>
              </a:rPr>
              <a:t> dui </a:t>
            </a:r>
            <a:r>
              <a:rPr lang="en-US" sz="1000" dirty="0" err="1">
                <a:solidFill>
                  <a:schemeClr val="tx2"/>
                </a:solidFill>
              </a:rPr>
              <a:t>fermentum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584870" y="5304692"/>
            <a:ext cx="27423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1000"/>
              </a:spcAft>
            </a:pPr>
            <a:r>
              <a:rPr lang="sv-SE" sz="1000" dirty="0">
                <a:solidFill>
                  <a:schemeClr val="tx2"/>
                </a:solidFill>
              </a:rPr>
              <a:t>Aenean ornare arcu eget nisi tincidunt, eu tincidunt eros tempus.</a:t>
            </a:r>
            <a:endParaRPr lang="en-US" sz="1000" dirty="0">
              <a:solidFill>
                <a:schemeClr val="tx2"/>
              </a:solidFill>
            </a:endParaRPr>
          </a:p>
        </p:txBody>
      </p:sp>
      <p:grpSp>
        <p:nvGrpSpPr>
          <p:cNvPr id="39" name="Group 38"/>
          <p:cNvGrpSpPr/>
          <p:nvPr userDrawn="1"/>
        </p:nvGrpSpPr>
        <p:grpSpPr>
          <a:xfrm>
            <a:off x="5559797" y="2404968"/>
            <a:ext cx="2742385" cy="3296617"/>
            <a:chOff x="2741289" y="1958539"/>
            <a:chExt cx="2056789" cy="2472462"/>
          </a:xfrm>
        </p:grpSpPr>
        <p:sp>
          <p:nvSpPr>
            <p:cNvPr id="35" name="TextBox 34"/>
            <p:cNvSpPr txBox="1"/>
            <p:nvPr userDrawn="1"/>
          </p:nvSpPr>
          <p:spPr>
            <a:xfrm>
              <a:off x="2744913" y="1958539"/>
              <a:ext cx="2053165" cy="207749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>
                <a:spcBef>
                  <a:spcPts val="300"/>
                </a:spcBef>
                <a:spcAft>
                  <a:spcPts val="1000"/>
                </a:spcAft>
              </a:pPr>
              <a:r>
                <a:rPr lang="en-US" sz="1200" b="1" dirty="0">
                  <a:solidFill>
                    <a:schemeClr val="tx2"/>
                  </a:solidFill>
                </a:rPr>
                <a:t>Column title, can  be multi-line</a:t>
              </a:r>
            </a:p>
          </p:txBody>
        </p:sp>
        <p:sp>
          <p:nvSpPr>
            <p:cNvPr id="36" name="TextBox 35"/>
            <p:cNvSpPr txBox="1"/>
            <p:nvPr userDrawn="1"/>
          </p:nvSpPr>
          <p:spPr>
            <a:xfrm>
              <a:off x="2744913" y="2234639"/>
              <a:ext cx="2053165" cy="1011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1000"/>
                </a:spcAft>
              </a:pPr>
              <a:r>
                <a:rPr lang="en-US" sz="1000" dirty="0" err="1">
                  <a:solidFill>
                    <a:schemeClr val="tx2"/>
                  </a:solidFill>
                </a:rPr>
                <a:t>Lorem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ipsum</a:t>
              </a:r>
              <a:r>
                <a:rPr lang="en-US" sz="1000" dirty="0">
                  <a:solidFill>
                    <a:schemeClr val="tx2"/>
                  </a:solidFill>
                </a:rPr>
                <a:t> dolor sit </a:t>
              </a:r>
              <a:r>
                <a:rPr lang="en-US" sz="1000" dirty="0" err="1">
                  <a:solidFill>
                    <a:schemeClr val="tx2"/>
                  </a:solidFill>
                </a:rPr>
                <a:t>amet</a:t>
              </a:r>
              <a:r>
                <a:rPr lang="en-US" sz="1000" dirty="0">
                  <a:solidFill>
                    <a:schemeClr val="tx2"/>
                  </a:solidFill>
                </a:rPr>
                <a:t>, </a:t>
              </a:r>
              <a:r>
                <a:rPr lang="en-US" sz="1000" dirty="0" err="1">
                  <a:solidFill>
                    <a:schemeClr val="tx2"/>
                  </a:solidFill>
                </a:rPr>
                <a:t>consectetur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adipiscing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elit</a:t>
              </a:r>
              <a:r>
                <a:rPr lang="en-US" sz="1000" dirty="0">
                  <a:solidFill>
                    <a:schemeClr val="tx2"/>
                  </a:solidFill>
                </a:rPr>
                <a:t>.</a:t>
              </a:r>
            </a:p>
            <a:p>
              <a:pPr>
                <a:spcBef>
                  <a:spcPts val="300"/>
                </a:spcBef>
                <a:spcAft>
                  <a:spcPts val="1000"/>
                </a:spcAft>
              </a:pPr>
              <a:r>
                <a:rPr lang="en-US" sz="1000" dirty="0" err="1">
                  <a:solidFill>
                    <a:schemeClr val="tx2"/>
                  </a:solidFill>
                </a:rPr>
                <a:t>Suspendisse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congue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turpis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maximus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dignissim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posuere</a:t>
              </a:r>
              <a:r>
                <a:rPr lang="en-US" sz="1000" dirty="0">
                  <a:solidFill>
                    <a:schemeClr val="tx2"/>
                  </a:solidFill>
                </a:rPr>
                <a:t>.</a:t>
              </a:r>
            </a:p>
            <a:p>
              <a:pPr>
                <a:spcBef>
                  <a:spcPts val="300"/>
                </a:spcBef>
                <a:spcAft>
                  <a:spcPts val="1000"/>
                </a:spcAft>
              </a:pPr>
              <a:r>
                <a:rPr lang="en-US" sz="1000" dirty="0" err="1">
                  <a:solidFill>
                    <a:schemeClr val="tx2"/>
                  </a:solidFill>
                </a:rPr>
                <a:t>Quisque</a:t>
              </a:r>
              <a:r>
                <a:rPr lang="en-US" sz="1000" dirty="0">
                  <a:solidFill>
                    <a:schemeClr val="tx2"/>
                  </a:solidFill>
                </a:rPr>
                <a:t> sit </a:t>
              </a:r>
              <a:r>
                <a:rPr lang="en-US" sz="1000" dirty="0" err="1">
                  <a:solidFill>
                    <a:schemeClr val="tx2"/>
                  </a:solidFill>
                </a:rPr>
                <a:t>amet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justo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ultrices</a:t>
              </a:r>
              <a:r>
                <a:rPr lang="en-US" sz="1000" dirty="0">
                  <a:solidFill>
                    <a:schemeClr val="tx2"/>
                  </a:solidFill>
                </a:rPr>
                <a:t>, </a:t>
              </a:r>
              <a:r>
                <a:rPr lang="en-US" sz="1000" dirty="0" err="1">
                  <a:solidFill>
                    <a:schemeClr val="tx2"/>
                  </a:solidFill>
                </a:rPr>
                <a:t>finibus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massa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eu</a:t>
              </a:r>
              <a:r>
                <a:rPr lang="en-US" sz="1000" dirty="0">
                  <a:solidFill>
                    <a:schemeClr val="tx2"/>
                  </a:solidFill>
                </a:rPr>
                <a:t>.</a:t>
              </a:r>
            </a:p>
          </p:txBody>
        </p:sp>
        <p:sp>
          <p:nvSpPr>
            <p:cNvPr id="37" name="TextBox 36"/>
            <p:cNvSpPr txBox="1"/>
            <p:nvPr userDrawn="1"/>
          </p:nvSpPr>
          <p:spPr>
            <a:xfrm>
              <a:off x="2741289" y="3658602"/>
              <a:ext cx="2056789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1000"/>
                </a:spcAft>
              </a:pPr>
              <a:r>
                <a:rPr lang="en-US" sz="1000" dirty="0">
                  <a:solidFill>
                    <a:schemeClr val="tx2"/>
                  </a:solidFill>
                </a:rPr>
                <a:t>Integer </a:t>
              </a:r>
              <a:r>
                <a:rPr lang="en-US" sz="1000" dirty="0" err="1">
                  <a:solidFill>
                    <a:schemeClr val="tx2"/>
                  </a:solidFill>
                </a:rPr>
                <a:t>sed</a:t>
              </a:r>
              <a:r>
                <a:rPr lang="en-US" sz="1000" dirty="0">
                  <a:solidFill>
                    <a:schemeClr val="tx2"/>
                  </a:solidFill>
                </a:rPr>
                <a:t> dui </a:t>
              </a:r>
              <a:r>
                <a:rPr lang="en-US" sz="1000" dirty="0" err="1">
                  <a:solidFill>
                    <a:schemeClr val="tx2"/>
                  </a:solidFill>
                </a:rPr>
                <a:t>fermentum</a:t>
              </a:r>
              <a:endParaRPr lang="en-US" sz="1000" dirty="0">
                <a:solidFill>
                  <a:schemeClr val="tx2"/>
                </a:solidFill>
              </a:endParaRP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2741289" y="4130919"/>
              <a:ext cx="2056789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1000"/>
                </a:spcAft>
              </a:pPr>
              <a:r>
                <a:rPr lang="sv-SE" sz="1000" dirty="0">
                  <a:solidFill>
                    <a:schemeClr val="tx2"/>
                  </a:solidFill>
                </a:rPr>
                <a:t>Aenean ornare arcu eget nisi tincidunt, eu tincidunt eros tempus.</a:t>
              </a:r>
              <a:endParaRPr lang="en-US" sz="10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8416710" y="2418728"/>
            <a:ext cx="2742385" cy="3296617"/>
            <a:chOff x="2091049" y="1958539"/>
            <a:chExt cx="2056789" cy="2472462"/>
          </a:xfrm>
        </p:grpSpPr>
        <p:sp>
          <p:nvSpPr>
            <p:cNvPr id="40" name="TextBox 39"/>
            <p:cNvSpPr txBox="1"/>
            <p:nvPr userDrawn="1"/>
          </p:nvSpPr>
          <p:spPr>
            <a:xfrm>
              <a:off x="2094673" y="1958539"/>
              <a:ext cx="2053165" cy="207749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>
                <a:spcBef>
                  <a:spcPts val="300"/>
                </a:spcBef>
                <a:spcAft>
                  <a:spcPts val="1000"/>
                </a:spcAft>
              </a:pPr>
              <a:r>
                <a:rPr lang="en-US" sz="1200" b="1" dirty="0">
                  <a:solidFill>
                    <a:schemeClr val="tx2"/>
                  </a:solidFill>
                </a:rPr>
                <a:t>Column title, can  be multi-line</a:t>
              </a:r>
            </a:p>
          </p:txBody>
        </p:sp>
        <p:sp>
          <p:nvSpPr>
            <p:cNvPr id="41" name="TextBox 40"/>
            <p:cNvSpPr txBox="1"/>
            <p:nvPr userDrawn="1"/>
          </p:nvSpPr>
          <p:spPr>
            <a:xfrm>
              <a:off x="2094673" y="2234639"/>
              <a:ext cx="2053165" cy="1011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1000"/>
                </a:spcAft>
              </a:pPr>
              <a:r>
                <a:rPr lang="en-US" sz="1000" dirty="0" err="1">
                  <a:solidFill>
                    <a:schemeClr val="tx2"/>
                  </a:solidFill>
                </a:rPr>
                <a:t>Lorem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ipsum</a:t>
              </a:r>
              <a:r>
                <a:rPr lang="en-US" sz="1000" dirty="0">
                  <a:solidFill>
                    <a:schemeClr val="tx2"/>
                  </a:solidFill>
                </a:rPr>
                <a:t> dolor sit </a:t>
              </a:r>
              <a:r>
                <a:rPr lang="en-US" sz="1000" dirty="0" err="1">
                  <a:solidFill>
                    <a:schemeClr val="tx2"/>
                  </a:solidFill>
                </a:rPr>
                <a:t>amet</a:t>
              </a:r>
              <a:r>
                <a:rPr lang="en-US" sz="1000" dirty="0">
                  <a:solidFill>
                    <a:schemeClr val="tx2"/>
                  </a:solidFill>
                </a:rPr>
                <a:t>, </a:t>
              </a:r>
              <a:r>
                <a:rPr lang="en-US" sz="1000" dirty="0" err="1">
                  <a:solidFill>
                    <a:schemeClr val="tx2"/>
                  </a:solidFill>
                </a:rPr>
                <a:t>consectetur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adipiscing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elit</a:t>
              </a:r>
              <a:r>
                <a:rPr lang="en-US" sz="1000" dirty="0">
                  <a:solidFill>
                    <a:schemeClr val="tx2"/>
                  </a:solidFill>
                </a:rPr>
                <a:t>.</a:t>
              </a:r>
            </a:p>
            <a:p>
              <a:pPr>
                <a:spcBef>
                  <a:spcPts val="300"/>
                </a:spcBef>
                <a:spcAft>
                  <a:spcPts val="1000"/>
                </a:spcAft>
              </a:pPr>
              <a:r>
                <a:rPr lang="en-US" sz="1000" dirty="0" err="1">
                  <a:solidFill>
                    <a:schemeClr val="tx2"/>
                  </a:solidFill>
                </a:rPr>
                <a:t>Suspendisse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congue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turpis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maximus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dignissim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posuere</a:t>
              </a:r>
              <a:r>
                <a:rPr lang="en-US" sz="1000" dirty="0">
                  <a:solidFill>
                    <a:schemeClr val="tx2"/>
                  </a:solidFill>
                </a:rPr>
                <a:t>.</a:t>
              </a:r>
            </a:p>
            <a:p>
              <a:pPr>
                <a:spcBef>
                  <a:spcPts val="300"/>
                </a:spcBef>
                <a:spcAft>
                  <a:spcPts val="1000"/>
                </a:spcAft>
              </a:pPr>
              <a:r>
                <a:rPr lang="en-US" sz="1000" dirty="0" err="1">
                  <a:solidFill>
                    <a:schemeClr val="tx2"/>
                  </a:solidFill>
                </a:rPr>
                <a:t>Quisque</a:t>
              </a:r>
              <a:r>
                <a:rPr lang="en-US" sz="1000" dirty="0">
                  <a:solidFill>
                    <a:schemeClr val="tx2"/>
                  </a:solidFill>
                </a:rPr>
                <a:t> sit </a:t>
              </a:r>
              <a:r>
                <a:rPr lang="en-US" sz="1000" dirty="0" err="1">
                  <a:solidFill>
                    <a:schemeClr val="tx2"/>
                  </a:solidFill>
                </a:rPr>
                <a:t>amet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justo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ultrices</a:t>
              </a:r>
              <a:r>
                <a:rPr lang="en-US" sz="1000" dirty="0">
                  <a:solidFill>
                    <a:schemeClr val="tx2"/>
                  </a:solidFill>
                </a:rPr>
                <a:t>, </a:t>
              </a:r>
              <a:r>
                <a:rPr lang="en-US" sz="1000" dirty="0" err="1">
                  <a:solidFill>
                    <a:schemeClr val="tx2"/>
                  </a:solidFill>
                </a:rPr>
                <a:t>finibus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massa</a:t>
              </a:r>
              <a:r>
                <a:rPr lang="en-US" sz="1000" dirty="0">
                  <a:solidFill>
                    <a:schemeClr val="tx2"/>
                  </a:solidFill>
                </a:rPr>
                <a:t> </a:t>
              </a:r>
              <a:r>
                <a:rPr lang="en-US" sz="1000" dirty="0" err="1">
                  <a:solidFill>
                    <a:schemeClr val="tx2"/>
                  </a:solidFill>
                </a:rPr>
                <a:t>eu</a:t>
              </a:r>
              <a:r>
                <a:rPr lang="en-US" sz="1000" dirty="0">
                  <a:solidFill>
                    <a:schemeClr val="tx2"/>
                  </a:solidFill>
                </a:rPr>
                <a:t>.</a:t>
              </a:r>
            </a:p>
          </p:txBody>
        </p:sp>
        <p:sp>
          <p:nvSpPr>
            <p:cNvPr id="42" name="TextBox 41"/>
            <p:cNvSpPr txBox="1"/>
            <p:nvPr userDrawn="1"/>
          </p:nvSpPr>
          <p:spPr>
            <a:xfrm>
              <a:off x="2091049" y="3658602"/>
              <a:ext cx="2056789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1000"/>
                </a:spcAft>
              </a:pPr>
              <a:r>
                <a:rPr lang="en-US" sz="1000" dirty="0">
                  <a:solidFill>
                    <a:schemeClr val="tx2"/>
                  </a:solidFill>
                </a:rPr>
                <a:t>Integer </a:t>
              </a:r>
              <a:r>
                <a:rPr lang="en-US" sz="1000" dirty="0" err="1">
                  <a:solidFill>
                    <a:schemeClr val="tx2"/>
                  </a:solidFill>
                </a:rPr>
                <a:t>sed</a:t>
              </a:r>
              <a:r>
                <a:rPr lang="en-US" sz="1000" dirty="0">
                  <a:solidFill>
                    <a:schemeClr val="tx2"/>
                  </a:solidFill>
                </a:rPr>
                <a:t> dui </a:t>
              </a:r>
              <a:r>
                <a:rPr lang="en-US" sz="1000" dirty="0" err="1">
                  <a:solidFill>
                    <a:schemeClr val="tx2"/>
                  </a:solidFill>
                </a:rPr>
                <a:t>fermentum</a:t>
              </a:r>
              <a:endParaRPr lang="en-US" sz="1000" dirty="0">
                <a:solidFill>
                  <a:schemeClr val="tx2"/>
                </a:solidFill>
              </a:endParaRPr>
            </a:p>
          </p:txBody>
        </p:sp>
        <p:sp>
          <p:nvSpPr>
            <p:cNvPr id="43" name="TextBox 42"/>
            <p:cNvSpPr txBox="1"/>
            <p:nvPr userDrawn="1"/>
          </p:nvSpPr>
          <p:spPr>
            <a:xfrm>
              <a:off x="2091049" y="4130919"/>
              <a:ext cx="2056789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1000"/>
                </a:spcAft>
              </a:pPr>
              <a:r>
                <a:rPr lang="sv-SE" sz="1000" dirty="0">
                  <a:solidFill>
                    <a:schemeClr val="tx2"/>
                  </a:solidFill>
                </a:rPr>
                <a:t>Aenean ornare arcu eget nisi tincidunt, eu tincidunt eros tempus.</a:t>
              </a:r>
              <a:endParaRPr lang="en-US" sz="10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11820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onsorship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2800" b="1" baseline="0">
                <a:solidFill>
                  <a:srgbClr val="1E1E1E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US Ignite Logos</a:t>
            </a:r>
          </a:p>
        </p:txBody>
      </p:sp>
      <p:pic>
        <p:nvPicPr>
          <p:cNvPr id="7" name="Picture 6" descr="us-ignite-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271" y="1463929"/>
            <a:ext cx="4944677" cy="1745180"/>
          </a:xfrm>
          <a:prstGeom prst="rect">
            <a:avLst/>
          </a:prstGeom>
        </p:spPr>
      </p:pic>
      <p:pic>
        <p:nvPicPr>
          <p:cNvPr id="10" name="Picture 9" descr="USI-AppSummit_logo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4" y="3398925"/>
            <a:ext cx="4710545" cy="900892"/>
          </a:xfrm>
          <a:prstGeom prst="rect">
            <a:avLst/>
          </a:prstGeom>
        </p:spPr>
      </p:pic>
      <p:pic>
        <p:nvPicPr>
          <p:cNvPr id="13" name="Picture 12" descr="GCTC_logo1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7051" y="4865531"/>
            <a:ext cx="4618181" cy="883227"/>
          </a:xfrm>
          <a:prstGeom prst="rect">
            <a:avLst/>
          </a:prstGeom>
        </p:spPr>
      </p:pic>
      <p:pic>
        <p:nvPicPr>
          <p:cNvPr id="14" name="Picture 13" descr="USI-GigabitExplorer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7836" y="3518298"/>
            <a:ext cx="4622051" cy="883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1902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onsorship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2800" b="1" baseline="0">
                <a:solidFill>
                  <a:srgbClr val="1E1E1E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US Ignite Partner Logo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722443" y="2086864"/>
            <a:ext cx="10806381" cy="770128"/>
            <a:chOff x="-1009650" y="1066800"/>
            <a:chExt cx="13365411" cy="1270000"/>
          </a:xfrm>
        </p:grpSpPr>
        <p:pic>
          <p:nvPicPr>
            <p:cNvPr id="28" name="Picture 27" descr="ammon.pn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009650" y="1066800"/>
              <a:ext cx="2222500" cy="1270000"/>
            </a:xfrm>
            <a:prstGeom prst="rect">
              <a:avLst/>
            </a:prstGeom>
          </p:spPr>
        </p:pic>
        <p:pic>
          <p:nvPicPr>
            <p:cNvPr id="29" name="Picture 28" descr="atc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2850" y="1066800"/>
              <a:ext cx="2222500" cy="1270000"/>
            </a:xfrm>
            <a:prstGeom prst="rect">
              <a:avLst/>
            </a:prstGeom>
          </p:spPr>
        </p:pic>
        <p:pic>
          <p:nvPicPr>
            <p:cNvPr id="30" name="Picture 29" descr="att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35350" y="1066800"/>
              <a:ext cx="2222500" cy="1270000"/>
            </a:xfrm>
            <a:prstGeom prst="rect">
              <a:avLst/>
            </a:prstGeom>
          </p:spPr>
        </p:pic>
        <p:pic>
          <p:nvPicPr>
            <p:cNvPr id="31" name="Picture 30" descr="big-switch.pn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7850" y="1066800"/>
              <a:ext cx="2222500" cy="1270000"/>
            </a:xfrm>
            <a:prstGeom prst="rect">
              <a:avLst/>
            </a:prstGeom>
          </p:spPr>
        </p:pic>
        <p:pic>
          <p:nvPicPr>
            <p:cNvPr id="32" name="Picture 31" descr="comcast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0350" y="1066800"/>
              <a:ext cx="2222500" cy="1270000"/>
            </a:xfrm>
            <a:prstGeom prst="rect">
              <a:avLst/>
            </a:prstGeom>
          </p:spPr>
        </p:pic>
        <p:pic>
          <p:nvPicPr>
            <p:cNvPr id="33" name="Picture 32" descr="epb.png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33261" y="1066800"/>
              <a:ext cx="2222500" cy="1270000"/>
            </a:xfrm>
            <a:prstGeom prst="rect">
              <a:avLst/>
            </a:prstGeom>
          </p:spPr>
        </p:pic>
      </p:grpSp>
      <p:grpSp>
        <p:nvGrpSpPr>
          <p:cNvPr id="34" name="Group 33"/>
          <p:cNvGrpSpPr/>
          <p:nvPr userDrawn="1"/>
        </p:nvGrpSpPr>
        <p:grpSpPr>
          <a:xfrm>
            <a:off x="747437" y="3115564"/>
            <a:ext cx="10781792" cy="770128"/>
            <a:chOff x="-1009650" y="2336800"/>
            <a:chExt cx="13335000" cy="1270000"/>
          </a:xfrm>
        </p:grpSpPr>
        <p:pic>
          <p:nvPicPr>
            <p:cNvPr id="35" name="Picture 34" descr="hbc.png"/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009650" y="2336800"/>
              <a:ext cx="2222500" cy="1270000"/>
            </a:xfrm>
            <a:prstGeom prst="rect">
              <a:avLst/>
            </a:prstGeom>
          </p:spPr>
        </p:pic>
        <p:pic>
          <p:nvPicPr>
            <p:cNvPr id="36" name="Picture 35" descr="internet2.png"/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2850" y="2336800"/>
              <a:ext cx="2222500" cy="1270000"/>
            </a:xfrm>
            <a:prstGeom prst="rect">
              <a:avLst/>
            </a:prstGeom>
          </p:spPr>
        </p:pic>
        <p:pic>
          <p:nvPicPr>
            <p:cNvPr id="37" name="Picture 36" descr="juniper.png"/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35350" y="2336800"/>
              <a:ext cx="2222500" cy="1270000"/>
            </a:xfrm>
            <a:prstGeom prst="rect">
              <a:avLst/>
            </a:prstGeom>
          </p:spPr>
        </p:pic>
        <p:pic>
          <p:nvPicPr>
            <p:cNvPr id="38" name="Picture 37" descr="lakenona.png"/>
            <p:cNvPicPr>
              <a:picLocks noChangeAspect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7850" y="2336800"/>
              <a:ext cx="2222500" cy="1270000"/>
            </a:xfrm>
            <a:prstGeom prst="rect">
              <a:avLst/>
            </a:prstGeom>
          </p:spPr>
        </p:pic>
        <p:pic>
          <p:nvPicPr>
            <p:cNvPr id="39" name="Picture 38" descr="lit.png"/>
            <p:cNvPicPr>
              <a:picLocks noChangeAspect="1"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0350" y="2336800"/>
              <a:ext cx="2222500" cy="1270000"/>
            </a:xfrm>
            <a:prstGeom prst="rect">
              <a:avLst/>
            </a:prstGeom>
          </p:spPr>
        </p:pic>
        <p:pic>
          <p:nvPicPr>
            <p:cNvPr id="40" name="Picture 39" descr="nsf.png"/>
            <p:cNvPicPr>
              <a:picLocks noChangeAspect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02850" y="2336800"/>
              <a:ext cx="2222500" cy="1270000"/>
            </a:xfrm>
            <a:prstGeom prst="rect">
              <a:avLst/>
            </a:prstGeom>
          </p:spPr>
        </p:pic>
      </p:grpSp>
      <p:grpSp>
        <p:nvGrpSpPr>
          <p:cNvPr id="41" name="Group 40"/>
          <p:cNvGrpSpPr/>
          <p:nvPr userDrawn="1"/>
        </p:nvGrpSpPr>
        <p:grpSpPr>
          <a:xfrm>
            <a:off x="1569720" y="4156964"/>
            <a:ext cx="8984827" cy="770128"/>
            <a:chOff x="-1009650" y="3873500"/>
            <a:chExt cx="11112500" cy="1270000"/>
          </a:xfrm>
        </p:grpSpPr>
        <p:pic>
          <p:nvPicPr>
            <p:cNvPr id="42" name="Picture 41" descr="orange.png"/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009650" y="3873500"/>
              <a:ext cx="2222500" cy="1270000"/>
            </a:xfrm>
            <a:prstGeom prst="rect">
              <a:avLst/>
            </a:prstGeom>
          </p:spPr>
        </p:pic>
        <p:pic>
          <p:nvPicPr>
            <p:cNvPr id="43" name="Picture 42" descr="sanleandro.png"/>
            <p:cNvPicPr>
              <a:picLocks noChangeAspect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2850" y="3873500"/>
              <a:ext cx="2222500" cy="1270000"/>
            </a:xfrm>
            <a:prstGeom prst="rect">
              <a:avLst/>
            </a:prstGeom>
          </p:spPr>
        </p:pic>
        <p:pic>
          <p:nvPicPr>
            <p:cNvPr id="44" name="Picture 43" descr="uc2b.png"/>
            <p:cNvPicPr>
              <a:picLocks noChangeAspect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35350" y="3873500"/>
              <a:ext cx="2222500" cy="1270000"/>
            </a:xfrm>
            <a:prstGeom prst="rect">
              <a:avLst/>
            </a:prstGeom>
          </p:spPr>
        </p:pic>
        <p:pic>
          <p:nvPicPr>
            <p:cNvPr id="45" name="Picture 44" descr="utopia.png"/>
            <p:cNvPicPr>
              <a:picLocks noChangeAspect="1"/>
            </p:cNvPicPr>
            <p:nvPr userDrawn="1"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7850" y="3873500"/>
              <a:ext cx="2222500" cy="1270000"/>
            </a:xfrm>
            <a:prstGeom prst="rect">
              <a:avLst/>
            </a:prstGeom>
          </p:spPr>
        </p:pic>
        <p:pic>
          <p:nvPicPr>
            <p:cNvPr id="46" name="Picture 45" descr="zayo.png"/>
            <p:cNvPicPr>
              <a:picLocks noChangeAspect="1"/>
            </p:cNvPicPr>
            <p:nvPr userDrawn="1"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0350" y="3873500"/>
              <a:ext cx="2222500" cy="127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65791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FF6C03"/>
              </a:gs>
              <a:gs pos="100000">
                <a:srgbClr val="FF860E"/>
              </a:gs>
            </a:gsLst>
            <a:lin ang="7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5" name="Picture 4" descr="lines-whiteoverlay copy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9" t="14708" r="5709" b="10768"/>
          <a:stretch/>
        </p:blipFill>
        <p:spPr>
          <a:xfrm>
            <a:off x="-2017776" y="6002"/>
            <a:ext cx="16227552" cy="6845999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76640" y="2126141"/>
            <a:ext cx="11288891" cy="2100573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defRPr sz="48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059991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CCD8D5EB-A501-453D-8149-B450292DDEA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BDEB2D0D-39D7-E245-AE72-75B6EA19DC3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444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/>
          <a:lstStyle/>
          <a:p>
            <a:fld id="{CE99F462-093F-4566-844B-4C71F2739DA5}" type="datetimeFigureOut">
              <a:rPr lang="en-US" smtClean="0"/>
              <a:pPr/>
              <a:t>5/10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473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ppSummit_heroPhoto-4-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630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4252153" y="0"/>
            <a:ext cx="7950116" cy="680476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84000">
                <a:schemeClr val="tx1">
                  <a:alpha val="37000"/>
                </a:schemeClr>
              </a:gs>
              <a:gs pos="45000">
                <a:schemeClr val="tx1">
                  <a:alpha val="4000"/>
                </a:schemeClr>
              </a:gs>
            </a:gsLst>
            <a:lin ang="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2" y="6804759"/>
            <a:ext cx="12202263" cy="62648"/>
          </a:xfrm>
          <a:prstGeom prst="rect">
            <a:avLst/>
          </a:prstGeom>
          <a:solidFill>
            <a:srgbClr val="FF6C0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096019" y="2927701"/>
            <a:ext cx="5266327" cy="1931541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lnSpc>
                <a:spcPct val="90000"/>
              </a:lnSpc>
              <a:defRPr sz="4200" b="1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Title of the Presentation</a:t>
            </a:r>
          </a:p>
        </p:txBody>
      </p:sp>
      <p:sp>
        <p:nvSpPr>
          <p:cNvPr id="18" name="Text Placeholder 36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4859244"/>
            <a:ext cx="5266267" cy="6159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22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9" name="Text Placeholder 36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75" y="5475195"/>
            <a:ext cx="5266267" cy="6159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800" baseline="0">
                <a:solidFill>
                  <a:srgbClr val="FFA62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June 20, 2014</a:t>
            </a:r>
          </a:p>
          <a:p>
            <a:pPr lvl="0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6133643" y="0"/>
            <a:ext cx="5381037" cy="177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11" name="Picture 10" descr="usi-appsummit-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714" y="450737"/>
            <a:ext cx="5142716" cy="913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2562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 (28p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 (20pt) — all fonts Arial</a:t>
            </a:r>
          </a:p>
        </p:txBody>
      </p:sp>
    </p:spTree>
    <p:extLst>
      <p:ext uri="{BB962C8B-B14F-4D97-AF65-F5344CB8AC3E}">
        <p14:creationId xmlns:p14="http://schemas.microsoft.com/office/powerpoint/2010/main" val="31856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1E1E1E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Application Summit Partner Logos</a:t>
            </a:r>
          </a:p>
        </p:txBody>
      </p:sp>
      <p:sp>
        <p:nvSpPr>
          <p:cNvPr id="2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age 1 of 2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23343" y="2119858"/>
            <a:ext cx="10781171" cy="3558084"/>
            <a:chOff x="760047" y="2464053"/>
            <a:chExt cx="7350798" cy="3234622"/>
          </a:xfrm>
        </p:grpSpPr>
        <p:pic>
          <p:nvPicPr>
            <p:cNvPr id="27" name="Picture 26" descr="2internet.pn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047" y="2467497"/>
              <a:ext cx="1444519" cy="637288"/>
            </a:xfrm>
            <a:prstGeom prst="rect">
              <a:avLst/>
            </a:prstGeom>
          </p:spPr>
        </p:pic>
        <p:pic>
          <p:nvPicPr>
            <p:cNvPr id="28" name="Picture 27" descr="ammon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608" y="2467497"/>
              <a:ext cx="1444519" cy="637288"/>
            </a:xfrm>
            <a:prstGeom prst="rect">
              <a:avLst/>
            </a:prstGeom>
          </p:spPr>
        </p:pic>
        <p:pic>
          <p:nvPicPr>
            <p:cNvPr id="29" name="Picture 28" descr="atc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4127" y="2467497"/>
              <a:ext cx="1444519" cy="637288"/>
            </a:xfrm>
            <a:prstGeom prst="rect">
              <a:avLst/>
            </a:prstGeom>
          </p:spPr>
        </p:pic>
        <p:pic>
          <p:nvPicPr>
            <p:cNvPr id="30" name="Picture 29" descr="ATT.pn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8646" y="2464053"/>
              <a:ext cx="1444519" cy="637288"/>
            </a:xfrm>
            <a:prstGeom prst="rect">
              <a:avLst/>
            </a:prstGeom>
          </p:spPr>
        </p:pic>
        <p:pic>
          <p:nvPicPr>
            <p:cNvPr id="31" name="Picture 30" descr="bigswitch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3165" y="2464053"/>
              <a:ext cx="1444519" cy="637288"/>
            </a:xfrm>
            <a:prstGeom prst="rect">
              <a:avLst/>
            </a:prstGeom>
          </p:spPr>
        </p:pic>
        <p:pic>
          <p:nvPicPr>
            <p:cNvPr id="32" name="Picture 31" descr="bluedoor.png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7047" y="3370934"/>
              <a:ext cx="1444519" cy="637288"/>
            </a:xfrm>
            <a:prstGeom prst="rect">
              <a:avLst/>
            </a:prstGeom>
          </p:spPr>
        </p:pic>
        <p:pic>
          <p:nvPicPr>
            <p:cNvPr id="34" name="Picture 33" descr="cenic.png"/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1566" y="3370934"/>
              <a:ext cx="1444519" cy="637288"/>
            </a:xfrm>
            <a:prstGeom prst="rect">
              <a:avLst/>
            </a:prstGeom>
          </p:spPr>
        </p:pic>
        <p:pic>
          <p:nvPicPr>
            <p:cNvPr id="35" name="Picture 34" descr="charlesstewart.png"/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6085" y="3370934"/>
              <a:ext cx="1444519" cy="637288"/>
            </a:xfrm>
            <a:prstGeom prst="rect">
              <a:avLst/>
            </a:prstGeom>
          </p:spPr>
        </p:pic>
        <p:pic>
          <p:nvPicPr>
            <p:cNvPr id="36" name="Picture 35" descr="ciena.png"/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1807" y="3370934"/>
              <a:ext cx="1444519" cy="637288"/>
            </a:xfrm>
            <a:prstGeom prst="rect">
              <a:avLst/>
            </a:prstGeom>
          </p:spPr>
        </p:pic>
        <p:pic>
          <p:nvPicPr>
            <p:cNvPr id="37" name="Picture 36" descr="cisco.png"/>
            <p:cNvPicPr>
              <a:picLocks noChangeAspect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6326" y="3370934"/>
              <a:ext cx="1444519" cy="637288"/>
            </a:xfrm>
            <a:prstGeom prst="rect">
              <a:avLst/>
            </a:prstGeom>
          </p:spPr>
        </p:pic>
        <p:pic>
          <p:nvPicPr>
            <p:cNvPr id="38" name="Picture 37" descr="comcast.png"/>
            <p:cNvPicPr>
              <a:picLocks noChangeAspect="1"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3325" y="4159688"/>
              <a:ext cx="1444519" cy="637288"/>
            </a:xfrm>
            <a:prstGeom prst="rect">
              <a:avLst/>
            </a:prstGeom>
          </p:spPr>
        </p:pic>
        <p:pic>
          <p:nvPicPr>
            <p:cNvPr id="39" name="Picture 38" descr="dcnet.png"/>
            <p:cNvPicPr>
              <a:picLocks noChangeAspect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844" y="4159688"/>
              <a:ext cx="1444519" cy="637288"/>
            </a:xfrm>
            <a:prstGeom prst="rect">
              <a:avLst/>
            </a:prstGeom>
          </p:spPr>
        </p:pic>
        <p:pic>
          <p:nvPicPr>
            <p:cNvPr id="41" name="Picture 40" descr="epb.png"/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41322" y="4159688"/>
              <a:ext cx="1444519" cy="637287"/>
            </a:xfrm>
            <a:prstGeom prst="rect">
              <a:avLst/>
            </a:prstGeom>
          </p:spPr>
        </p:pic>
        <p:pic>
          <p:nvPicPr>
            <p:cNvPr id="42" name="Picture 41" descr="geni.png"/>
            <p:cNvPicPr>
              <a:picLocks noChangeAspect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0604" y="4098993"/>
              <a:ext cx="1444519" cy="637287"/>
            </a:xfrm>
            <a:prstGeom prst="rect">
              <a:avLst/>
            </a:prstGeom>
          </p:spPr>
        </p:pic>
        <p:pic>
          <p:nvPicPr>
            <p:cNvPr id="43" name="Picture 42" descr="greenlight.png"/>
            <p:cNvPicPr>
              <a:picLocks noChangeAspect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5124" y="4147549"/>
              <a:ext cx="1444519" cy="637287"/>
            </a:xfrm>
            <a:prstGeom prst="rect">
              <a:avLst/>
            </a:prstGeom>
          </p:spPr>
        </p:pic>
        <p:pic>
          <p:nvPicPr>
            <p:cNvPr id="44" name="Picture 43" descr="hbc.png"/>
            <p:cNvPicPr>
              <a:picLocks noChangeAspect="1"/>
            </p:cNvPicPr>
            <p:nvPr userDrawn="1"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6853" y="5049249"/>
              <a:ext cx="1444519" cy="637287"/>
            </a:xfrm>
            <a:prstGeom prst="rect">
              <a:avLst/>
            </a:prstGeom>
          </p:spPr>
        </p:pic>
        <p:pic>
          <p:nvPicPr>
            <p:cNvPr id="45" name="Picture 44" descr="highpointnetworks.png"/>
            <p:cNvPicPr>
              <a:picLocks noChangeAspect="1"/>
            </p:cNvPicPr>
            <p:nvPr userDrawn="1"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1372" y="5061388"/>
              <a:ext cx="1444519" cy="637287"/>
            </a:xfrm>
            <a:prstGeom prst="rect">
              <a:avLst/>
            </a:prstGeom>
          </p:spPr>
        </p:pic>
        <p:pic>
          <p:nvPicPr>
            <p:cNvPr id="46" name="Picture 45" descr="howard.png"/>
            <p:cNvPicPr>
              <a:picLocks noChangeAspect="1"/>
            </p:cNvPicPr>
            <p:nvPr userDrawn="1"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3812" y="5061388"/>
              <a:ext cx="1444519" cy="6372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849854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1E1E1E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Application Summit Partner Logos</a:t>
            </a:r>
          </a:p>
        </p:txBody>
      </p:sp>
      <p:sp>
        <p:nvSpPr>
          <p:cNvPr id="2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age 2 of 2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759559" y="2088833"/>
            <a:ext cx="10503551" cy="3669657"/>
            <a:chOff x="-784683" y="2532567"/>
            <a:chExt cx="7161512" cy="3336052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-781674" y="2532567"/>
              <a:ext cx="7155495" cy="644599"/>
              <a:chOff x="289544" y="2532567"/>
              <a:chExt cx="7155495" cy="644599"/>
            </a:xfrm>
          </p:grpSpPr>
          <p:pic>
            <p:nvPicPr>
              <p:cNvPr id="46" name="Picture 45" descr="hp.png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9544" y="2532567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47" name="Picture 46" descr="juniper.png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15829" y="2532567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48" name="Picture 47" descr="lakenona.png"/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48131" y="2532567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49" name="Picture 48" descr="lus.png"/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80435" y="2532567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50" name="Picture 49" descr="Lyndhurst.png"/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12737" y="2532567"/>
                <a:ext cx="1432302" cy="644599"/>
              </a:xfrm>
              <a:prstGeom prst="rect">
                <a:avLst/>
              </a:prstGeom>
            </p:spPr>
          </p:pic>
        </p:grpSp>
        <p:grpSp>
          <p:nvGrpSpPr>
            <p:cNvPr id="4" name="Group 3"/>
            <p:cNvGrpSpPr/>
            <p:nvPr userDrawn="1"/>
          </p:nvGrpSpPr>
          <p:grpSpPr>
            <a:xfrm>
              <a:off x="-784683" y="3420611"/>
              <a:ext cx="7161512" cy="699849"/>
              <a:chOff x="-1062140" y="3420611"/>
              <a:chExt cx="7161512" cy="699849"/>
            </a:xfrm>
          </p:grpSpPr>
          <p:pic>
            <p:nvPicPr>
              <p:cNvPr id="51" name="Picture 50" descr="matrix.png"/>
              <p:cNvPicPr>
                <a:picLocks noChangeAspect="1"/>
              </p:cNvPicPr>
              <p:nvPr userDrawn="1"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062140" y="3475861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53" name="Picture 52" descr="merit.png"/>
              <p:cNvPicPr>
                <a:picLocks noChangeAspect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0162" y="3448236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54" name="Picture 53" descr="mozilla.png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02464" y="3420611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55" name="Picture 54" descr="mstech.png"/>
              <p:cNvPicPr>
                <a:picLocks noChangeAspect="1"/>
              </p:cNvPicPr>
              <p:nvPr userDrawn="1"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34768" y="3420611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56" name="Picture 55" descr="nec.png"/>
              <p:cNvPicPr>
                <a:picLocks noChangeAspect="1"/>
              </p:cNvPicPr>
              <p:nvPr userDrawn="1"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67070" y="3448236"/>
                <a:ext cx="1432302" cy="644599"/>
              </a:xfrm>
              <a:prstGeom prst="rect">
                <a:avLst/>
              </a:prstGeom>
            </p:spPr>
          </p:pic>
        </p:grpSp>
        <p:grpSp>
          <p:nvGrpSpPr>
            <p:cNvPr id="5" name="Group 4"/>
            <p:cNvGrpSpPr/>
            <p:nvPr userDrawn="1"/>
          </p:nvGrpSpPr>
          <p:grpSpPr>
            <a:xfrm>
              <a:off x="-778665" y="4318292"/>
              <a:ext cx="7149476" cy="712127"/>
              <a:chOff x="-1852892" y="4318292"/>
              <a:chExt cx="7149476" cy="712127"/>
            </a:xfrm>
          </p:grpSpPr>
          <p:pic>
            <p:nvPicPr>
              <p:cNvPr id="57" name="Picture 56" descr="NSF.png"/>
              <p:cNvPicPr>
                <a:picLocks noChangeAspect="1"/>
              </p:cNvPicPr>
              <p:nvPr userDrawn="1"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852892" y="4385820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58" name="Picture 57" descr="peakuptime.png"/>
              <p:cNvPicPr>
                <a:picLocks noChangeAspect="1"/>
              </p:cNvPicPr>
              <p:nvPr userDrawn="1"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426607" y="4358195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60" name="Picture 59" descr="ronco.png"/>
              <p:cNvPicPr>
                <a:picLocks noChangeAspect="1"/>
              </p:cNvPicPr>
              <p:nvPr userDrawn="1"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6313" y="4318292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61" name="Picture 60" descr="tiesdepot.png"/>
              <p:cNvPicPr>
                <a:picLocks noChangeAspect="1"/>
              </p:cNvPicPr>
              <p:nvPr userDrawn="1"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18616" y="4318292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62" name="Picture 61" descr="utopia.png"/>
              <p:cNvPicPr>
                <a:picLocks noChangeAspect="1"/>
              </p:cNvPicPr>
              <p:nvPr userDrawn="1"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64282" y="4318292"/>
                <a:ext cx="1432302" cy="644599"/>
              </a:xfrm>
              <a:prstGeom prst="rect">
                <a:avLst/>
              </a:prstGeom>
            </p:spPr>
          </p:pic>
        </p:grpSp>
        <p:grpSp>
          <p:nvGrpSpPr>
            <p:cNvPr id="6" name="Group 5"/>
            <p:cNvGrpSpPr/>
            <p:nvPr userDrawn="1"/>
          </p:nvGrpSpPr>
          <p:grpSpPr>
            <a:xfrm>
              <a:off x="1406240" y="5224020"/>
              <a:ext cx="2779667" cy="644599"/>
              <a:chOff x="584245" y="5224020"/>
              <a:chExt cx="2779667" cy="644599"/>
            </a:xfrm>
          </p:grpSpPr>
          <p:pic>
            <p:nvPicPr>
              <p:cNvPr id="63" name="Picture 62" descr="verizon.png"/>
              <p:cNvPicPr>
                <a:picLocks noChangeAspect="1"/>
              </p:cNvPicPr>
              <p:nvPr userDrawn="1"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4245" y="5224020"/>
                <a:ext cx="1432302" cy="644599"/>
              </a:xfrm>
              <a:prstGeom prst="rect">
                <a:avLst/>
              </a:prstGeom>
            </p:spPr>
          </p:pic>
          <p:pic>
            <p:nvPicPr>
              <p:cNvPr id="64" name="Picture 63" descr="wilson.png"/>
              <p:cNvPicPr>
                <a:picLocks noChangeAspect="1"/>
              </p:cNvPicPr>
              <p:nvPr userDrawn="1"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31610" y="5224020"/>
                <a:ext cx="1432302" cy="644599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5377694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031680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456355" y="1748988"/>
            <a:ext cx="11477813" cy="433082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30000"/>
              </a:lnSpc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  <a:lvl2pPr marL="338899" indent="-164749">
              <a:lnSpc>
                <a:spcPct val="130000"/>
              </a:lnSpc>
              <a:defRPr sz="15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084426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89878" y="2107013"/>
            <a:ext cx="10711901" cy="1755673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4200" b="1" baseline="0">
                <a:solidFill>
                  <a:srgbClr val="FF860E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“Quote text goes here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.”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89878" y="4014007"/>
            <a:ext cx="107119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dirty="0">
                <a:solidFill>
                  <a:schemeClr val="tx1"/>
                </a:solidFill>
                <a:latin typeface="+mj-lt"/>
              </a:rPr>
              <a:t>Quote Source (Name)</a:t>
            </a:r>
          </a:p>
        </p:txBody>
      </p:sp>
    </p:spTree>
    <p:extLst>
      <p:ext uri="{BB962C8B-B14F-4D97-AF65-F5344CB8AC3E}">
        <p14:creationId xmlns:p14="http://schemas.microsoft.com/office/powerpoint/2010/main" val="15680742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6181890" y="1758951"/>
            <a:ext cx="5400516" cy="44973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456361" y="1748985"/>
            <a:ext cx="5438953" cy="45073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30000"/>
              </a:lnSpc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  <a:lvl2pPr marL="338899" indent="-164749">
              <a:lnSpc>
                <a:spcPct val="130000"/>
              </a:lnSpc>
              <a:defRPr sz="15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9226947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456361" y="1748986"/>
            <a:ext cx="5438953" cy="44222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30000"/>
              </a:lnSpc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  <a:lvl2pPr marL="338899" indent="-164749">
              <a:lnSpc>
                <a:spcPct val="130000"/>
              </a:lnSpc>
              <a:defRPr sz="15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6262037" y="1748986"/>
            <a:ext cx="5438953" cy="44222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30000"/>
              </a:lnSpc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  <a:lvl2pPr marL="338899" indent="-164749">
              <a:lnSpc>
                <a:spcPct val="130000"/>
              </a:lnSpc>
              <a:defRPr sz="15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932729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edia Placeholder 6"/>
          <p:cNvSpPr>
            <a:spLocks noGrp="1"/>
          </p:cNvSpPr>
          <p:nvPr>
            <p:ph type="media" sz="quarter" idx="11"/>
          </p:nvPr>
        </p:nvSpPr>
        <p:spPr>
          <a:xfrm>
            <a:off x="456354" y="376122"/>
            <a:ext cx="11243733" cy="421481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779082"/>
            <a:ext cx="11244635" cy="658903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5448394"/>
            <a:ext cx="11244636" cy="442993"/>
          </a:xfrm>
          <a:prstGeom prst="rect">
            <a:avLst/>
          </a:prstGeom>
        </p:spPr>
        <p:txBody>
          <a:bodyPr wrap="square"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007787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456354" y="376298"/>
            <a:ext cx="11244637" cy="42153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779082"/>
            <a:ext cx="11244635" cy="658903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5448394"/>
            <a:ext cx="11244636" cy="442993"/>
          </a:xfrm>
          <a:prstGeom prst="rect">
            <a:avLst/>
          </a:prstGeom>
        </p:spPr>
        <p:txBody>
          <a:bodyPr wrap="square"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3397022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A7A7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6" name="Picture 5" descr="lines-whiteoverlay copy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9" t="14708" r="5709" b="10768"/>
          <a:stretch/>
        </p:blipFill>
        <p:spPr>
          <a:xfrm>
            <a:off x="-2017776" y="6002"/>
            <a:ext cx="16227552" cy="684599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689878" y="2107013"/>
            <a:ext cx="10711901" cy="1755673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42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Section Title of the Presentation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90033" y="4000503"/>
            <a:ext cx="10712451" cy="74083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>
                <a:latin typeface="Arial"/>
                <a:cs typeface="Arial"/>
              </a:defRPr>
            </a:lvl1pPr>
          </a:lstStyle>
          <a:p>
            <a:pPr algn="ctr"/>
            <a:r>
              <a:rPr lang="en-US" sz="2000" b="0">
                <a:solidFill>
                  <a:schemeClr val="bg1"/>
                </a:solidFill>
              </a:rPr>
              <a:t>Subtitle for Section</a:t>
            </a:r>
            <a:r>
              <a:rPr lang="en-US" sz="2000" b="0" baseline="0">
                <a:solidFill>
                  <a:schemeClr val="bg1"/>
                </a:solidFill>
              </a:rPr>
              <a:t> of Presentation</a:t>
            </a:r>
            <a:endParaRPr lang="en-US" sz="20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6793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6181890" y="1986055"/>
            <a:ext cx="5400516" cy="381643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latin typeface="Arial"/>
                <a:cs typeface="Arial"/>
              </a:defRPr>
            </a:lvl1pPr>
          </a:lstStyle>
          <a:p>
            <a:r>
              <a:rPr lang="en-US" dirty="0"/>
              <a:t>[ drag picture to placeholder or click icon to add ] 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56352" y="1986052"/>
            <a:ext cx="5334848" cy="251607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1800" b="1" dirty="0"/>
              <a:t>Column</a:t>
            </a:r>
            <a:r>
              <a:rPr lang="en-US" sz="1800" b="1" baseline="0" dirty="0"/>
              <a:t> Header (18pt bold)</a:t>
            </a:r>
          </a:p>
          <a:p>
            <a:pPr>
              <a:lnSpc>
                <a:spcPct val="125000"/>
              </a:lnSpc>
            </a:pPr>
            <a:r>
              <a:rPr lang="en-US" sz="1800" dirty="0" err="1"/>
              <a:t>Lorem</a:t>
            </a:r>
            <a:r>
              <a:rPr lang="en-US" sz="1800" dirty="0"/>
              <a:t> </a:t>
            </a:r>
            <a:r>
              <a:rPr lang="en-US" sz="1800" dirty="0" err="1"/>
              <a:t>ipsum</a:t>
            </a:r>
            <a:r>
              <a:rPr lang="en-US" sz="1800" dirty="0"/>
              <a:t> dolor sit </a:t>
            </a:r>
            <a:r>
              <a:rPr lang="en-US" sz="1800" dirty="0" err="1"/>
              <a:t>amet</a:t>
            </a:r>
            <a:r>
              <a:rPr lang="en-US" sz="1800" dirty="0"/>
              <a:t>, </a:t>
            </a:r>
            <a:r>
              <a:rPr lang="en-US" sz="1800" dirty="0" err="1"/>
              <a:t>consectetur</a:t>
            </a:r>
            <a:r>
              <a:rPr lang="en-US" sz="1800" dirty="0"/>
              <a:t> </a:t>
            </a:r>
            <a:r>
              <a:rPr lang="en-US" sz="1800" dirty="0" err="1"/>
              <a:t>adipiscing</a:t>
            </a:r>
            <a:r>
              <a:rPr lang="en-US" sz="1800" dirty="0"/>
              <a:t> </a:t>
            </a:r>
            <a:r>
              <a:rPr lang="en-US" sz="1800" dirty="0" err="1"/>
              <a:t>elit</a:t>
            </a:r>
            <a:r>
              <a:rPr lang="en-US" sz="1800" dirty="0"/>
              <a:t>. </a:t>
            </a:r>
            <a:r>
              <a:rPr lang="en-US" sz="1800" dirty="0" err="1"/>
              <a:t>Quisque</a:t>
            </a:r>
            <a:r>
              <a:rPr lang="en-US" sz="1800" dirty="0"/>
              <a:t> sit </a:t>
            </a:r>
            <a:r>
              <a:rPr lang="en-US" sz="1800" dirty="0" err="1"/>
              <a:t>amet</a:t>
            </a:r>
            <a:r>
              <a:rPr lang="en-US" sz="1800" dirty="0"/>
              <a:t> mi </a:t>
            </a:r>
            <a:r>
              <a:rPr lang="en-US" sz="1800" dirty="0" err="1"/>
              <a:t>quis</a:t>
            </a:r>
            <a:r>
              <a:rPr lang="en-US" sz="1800" dirty="0"/>
              <a:t> </a:t>
            </a:r>
            <a:r>
              <a:rPr lang="en-US" sz="1800" dirty="0" err="1"/>
              <a:t>eros</a:t>
            </a:r>
            <a:r>
              <a:rPr lang="en-US" sz="1800" dirty="0"/>
              <a:t> </a:t>
            </a:r>
            <a:r>
              <a:rPr lang="en-US" sz="1800" dirty="0" err="1"/>
              <a:t>pellentesque</a:t>
            </a:r>
            <a:r>
              <a:rPr lang="en-US" sz="1800" dirty="0"/>
              <a:t> </a:t>
            </a:r>
            <a:r>
              <a:rPr lang="en-US" sz="1800" dirty="0" err="1"/>
              <a:t>pretium</a:t>
            </a:r>
            <a:r>
              <a:rPr lang="en-US" sz="1800" dirty="0"/>
              <a:t> et vitae </a:t>
            </a:r>
            <a:r>
              <a:rPr lang="en-US" sz="1800" dirty="0" err="1"/>
              <a:t>metus</a:t>
            </a:r>
            <a:r>
              <a:rPr lang="en-US" sz="1800" dirty="0"/>
              <a:t>. </a:t>
            </a:r>
          </a:p>
          <a:p>
            <a:pPr>
              <a:lnSpc>
                <a:spcPct val="125000"/>
              </a:lnSpc>
            </a:pPr>
            <a:endParaRPr lang="en-US" sz="1800" dirty="0"/>
          </a:p>
          <a:p>
            <a:pPr>
              <a:lnSpc>
                <a:spcPct val="125000"/>
              </a:lnSpc>
            </a:pPr>
            <a:r>
              <a:rPr lang="en-US" sz="1800" dirty="0">
                <a:solidFill>
                  <a:srgbClr val="17B5DC"/>
                </a:solidFill>
              </a:rPr>
              <a:t>Link text »</a:t>
            </a:r>
          </a:p>
          <a:p>
            <a:pPr>
              <a:lnSpc>
                <a:spcPct val="125000"/>
              </a:lnSpc>
            </a:pPr>
            <a:r>
              <a:rPr lang="en-US" sz="1800" dirty="0">
                <a:solidFill>
                  <a:schemeClr val="tx2"/>
                </a:solidFill>
              </a:rPr>
              <a:t>Visited link text »</a:t>
            </a:r>
          </a:p>
        </p:txBody>
      </p:sp>
    </p:spTree>
    <p:extLst>
      <p:ext uri="{BB962C8B-B14F-4D97-AF65-F5344CB8AC3E}">
        <p14:creationId xmlns:p14="http://schemas.microsoft.com/office/powerpoint/2010/main" val="37125751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11" name="Picture 10" descr="lines-whiteoverlay copy.png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89" t="14708" r="5709" b="10768"/>
          <a:stretch/>
        </p:blipFill>
        <p:spPr>
          <a:xfrm>
            <a:off x="-2017776" y="6002"/>
            <a:ext cx="16227552" cy="6845999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9878" y="2107013"/>
            <a:ext cx="10711901" cy="1755673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42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of the Presentation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689878" y="4014007"/>
            <a:ext cx="107119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dirty="0">
                <a:solidFill>
                  <a:srgbClr val="EF6C19"/>
                </a:solidFill>
                <a:latin typeface="Arial"/>
                <a:cs typeface="Arial"/>
              </a:rPr>
              <a:t>Subtitle for Section</a:t>
            </a:r>
            <a:r>
              <a:rPr lang="en-US" sz="2000" b="0" baseline="0" dirty="0">
                <a:solidFill>
                  <a:srgbClr val="EF6C19"/>
                </a:solidFill>
                <a:latin typeface="Arial"/>
                <a:cs typeface="Arial"/>
              </a:rPr>
              <a:t> of Presentation</a:t>
            </a:r>
            <a:endParaRPr lang="en-US" sz="2000" b="0" dirty="0">
              <a:solidFill>
                <a:srgbClr val="EF6C19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18450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-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6"/>
          </p:nvPr>
        </p:nvSpPr>
        <p:spPr>
          <a:xfrm>
            <a:off x="1355203" y="1931657"/>
            <a:ext cx="1478776" cy="129508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7"/>
          </p:nvPr>
        </p:nvSpPr>
        <p:spPr>
          <a:xfrm>
            <a:off x="5258647" y="1931657"/>
            <a:ext cx="1478776" cy="129508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8"/>
          </p:nvPr>
        </p:nvSpPr>
        <p:spPr>
          <a:xfrm>
            <a:off x="9297563" y="1931657"/>
            <a:ext cx="1478776" cy="129508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4445102" y="3392315"/>
            <a:ext cx="3281521" cy="25907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30000"/>
              </a:lnSpc>
              <a:buNone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30000"/>
              </a:lnSpc>
              <a:buNone/>
              <a:defRPr sz="15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96845" y="3392315"/>
            <a:ext cx="3281521" cy="25907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30000"/>
              </a:lnSpc>
              <a:buNone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30000"/>
              </a:lnSpc>
              <a:buNone/>
              <a:defRPr sz="15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356760" y="3392315"/>
            <a:ext cx="3281521" cy="25907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30000"/>
              </a:lnSpc>
              <a:buNone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30000"/>
              </a:lnSpc>
              <a:buNone/>
              <a:defRPr sz="15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0143838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or Icons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55" name="Text Placehold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1458568" y="4642556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ENERGY</a:t>
            </a:r>
          </a:p>
        </p:txBody>
      </p:sp>
      <p:sp>
        <p:nvSpPr>
          <p:cNvPr id="56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1458568" y="2960513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HEALTH</a:t>
            </a:r>
          </a:p>
        </p:txBody>
      </p:sp>
      <p:sp>
        <p:nvSpPr>
          <p:cNvPr id="57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4662513" y="4642556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MANUFACTURING</a:t>
            </a:r>
          </a:p>
        </p:txBody>
      </p:sp>
      <p:sp>
        <p:nvSpPr>
          <p:cNvPr id="58" name="Text Placeholder 17"/>
          <p:cNvSpPr>
            <a:spLocks noGrp="1"/>
          </p:cNvSpPr>
          <p:nvPr>
            <p:ph type="body" sz="quarter" idx="34" hasCustomPrompt="1"/>
          </p:nvPr>
        </p:nvSpPr>
        <p:spPr>
          <a:xfrm>
            <a:off x="4662513" y="2947811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TRANSPORTATION</a:t>
            </a:r>
          </a:p>
        </p:txBody>
      </p:sp>
      <p:pic>
        <p:nvPicPr>
          <p:cNvPr id="59" name="Picture 58" descr="energ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666" y="3791655"/>
            <a:ext cx="1032933" cy="774700"/>
          </a:xfrm>
          <a:prstGeom prst="rect">
            <a:avLst/>
          </a:prstGeom>
        </p:spPr>
      </p:pic>
      <p:pic>
        <p:nvPicPr>
          <p:cNvPr id="60" name="Picture 59" descr="health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666" y="2109612"/>
            <a:ext cx="1032933" cy="774700"/>
          </a:xfrm>
          <a:prstGeom prst="rect">
            <a:avLst/>
          </a:prstGeom>
        </p:spPr>
      </p:pic>
      <p:pic>
        <p:nvPicPr>
          <p:cNvPr id="61" name="Picture 60" descr="manufacturing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4611" y="3791655"/>
            <a:ext cx="1032933" cy="774700"/>
          </a:xfrm>
          <a:prstGeom prst="rect">
            <a:avLst/>
          </a:prstGeom>
        </p:spPr>
      </p:pic>
      <p:pic>
        <p:nvPicPr>
          <p:cNvPr id="62" name="Picture 61" descr="transportation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4611" y="2096910"/>
            <a:ext cx="1032933" cy="774700"/>
          </a:xfrm>
          <a:prstGeom prst="rect">
            <a:avLst/>
          </a:prstGeom>
        </p:spPr>
      </p:pic>
      <p:sp>
        <p:nvSpPr>
          <p:cNvPr id="63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7791635" y="4642556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GENERAL</a:t>
            </a:r>
          </a:p>
        </p:txBody>
      </p:sp>
      <p:pic>
        <p:nvPicPr>
          <p:cNvPr id="64" name="Picture 63" descr="general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3732" y="3791655"/>
            <a:ext cx="1032933" cy="774700"/>
          </a:xfrm>
          <a:prstGeom prst="rect">
            <a:avLst/>
          </a:prstGeom>
        </p:spPr>
      </p:pic>
      <p:sp>
        <p:nvSpPr>
          <p:cNvPr id="65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7791635" y="2960513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Public SAFETY</a:t>
            </a:r>
          </a:p>
        </p:txBody>
      </p:sp>
      <p:pic>
        <p:nvPicPr>
          <p:cNvPr id="66" name="Picture 65" descr="public-safet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3732" y="2109612"/>
            <a:ext cx="1032933" cy="77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3939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A7A7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8" name="Picture 7" descr="lines-whiteoverlay copy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9" t="14708" r="5709" b="10768"/>
          <a:stretch/>
        </p:blipFill>
        <p:spPr>
          <a:xfrm>
            <a:off x="-2017776" y="6002"/>
            <a:ext cx="16227552" cy="6845999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76640" y="2126141"/>
            <a:ext cx="11288891" cy="2100573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defRPr sz="48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265515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GCTC_heroPhoto-withPatternOverlay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" y="0"/>
            <a:ext cx="12185983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4252153" y="0"/>
            <a:ext cx="7950116" cy="680476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84000">
                <a:schemeClr val="tx1">
                  <a:alpha val="37000"/>
                </a:schemeClr>
              </a:gs>
              <a:gs pos="45000">
                <a:schemeClr val="tx1">
                  <a:alpha val="4000"/>
                </a:schemeClr>
              </a:gs>
            </a:gsLst>
            <a:lin ang="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2" y="6804759"/>
            <a:ext cx="12202263" cy="62648"/>
          </a:xfrm>
          <a:prstGeom prst="rect">
            <a:avLst/>
          </a:prstGeom>
          <a:solidFill>
            <a:srgbClr val="FF6C0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096019" y="2927701"/>
            <a:ext cx="5266327" cy="1931541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lnSpc>
                <a:spcPct val="90000"/>
              </a:lnSpc>
              <a:defRPr sz="4200" b="1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Title of the Presentation</a:t>
            </a:r>
          </a:p>
        </p:txBody>
      </p:sp>
      <p:sp>
        <p:nvSpPr>
          <p:cNvPr id="9" name="Text Placeholder 36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4859244"/>
            <a:ext cx="5266267" cy="6159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22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36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75" y="5475195"/>
            <a:ext cx="5266267" cy="6159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800" baseline="0">
                <a:solidFill>
                  <a:srgbClr val="FFA62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June 20, 2014</a:t>
            </a:r>
          </a:p>
          <a:p>
            <a:pPr lvl="0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6133643" y="0"/>
            <a:ext cx="5381037" cy="177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12" name="Picture 11" descr="GCTC_logo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546" y="403580"/>
            <a:ext cx="5008425" cy="957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0468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wrap="none" lIns="0" rIns="0">
            <a:noAutofit/>
          </a:bodyPr>
          <a:lstStyle>
            <a:lvl1pPr algn="l">
              <a:defRPr sz="2800" b="1" baseline="0">
                <a:solidFill>
                  <a:srgbClr val="1E1E1E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Global Cities Team Challenge Partner Logos</a:t>
            </a:r>
          </a:p>
        </p:txBody>
      </p:sp>
      <p:pic>
        <p:nvPicPr>
          <p:cNvPr id="21" name="Picture 20" descr="ar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9678" y="1809150"/>
            <a:ext cx="2305701" cy="988158"/>
          </a:xfrm>
          <a:prstGeom prst="rect">
            <a:avLst/>
          </a:prstGeom>
        </p:spPr>
      </p:pic>
      <p:pic>
        <p:nvPicPr>
          <p:cNvPr id="22" name="Picture 21" descr="cisc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8679" y="1809150"/>
            <a:ext cx="2305701" cy="988158"/>
          </a:xfrm>
          <a:prstGeom prst="rect">
            <a:avLst/>
          </a:prstGeom>
        </p:spPr>
      </p:pic>
      <p:pic>
        <p:nvPicPr>
          <p:cNvPr id="23" name="Picture 22" descr="extreme-networks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7109" y="1809150"/>
            <a:ext cx="2305701" cy="988158"/>
          </a:xfrm>
          <a:prstGeom prst="rect">
            <a:avLst/>
          </a:prstGeom>
        </p:spPr>
      </p:pic>
      <p:pic>
        <p:nvPicPr>
          <p:cNvPr id="24" name="Picture 23" descr="heath-and-human-footer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6142" y="1809150"/>
            <a:ext cx="2305701" cy="988158"/>
          </a:xfrm>
          <a:prstGeom prst="rect">
            <a:avLst/>
          </a:prstGeom>
        </p:spPr>
      </p:pic>
      <p:pic>
        <p:nvPicPr>
          <p:cNvPr id="25" name="Picture 24" descr="ibm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0158" y="3064688"/>
            <a:ext cx="2305701" cy="988158"/>
          </a:xfrm>
          <a:prstGeom prst="rect">
            <a:avLst/>
          </a:prstGeom>
        </p:spPr>
      </p:pic>
      <p:pic>
        <p:nvPicPr>
          <p:cNvPr id="27" name="Picture 26" descr="intel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5859" y="3064688"/>
            <a:ext cx="2305701" cy="988158"/>
          </a:xfrm>
          <a:prstGeom prst="rect">
            <a:avLst/>
          </a:prstGeom>
        </p:spPr>
      </p:pic>
      <p:pic>
        <p:nvPicPr>
          <p:cNvPr id="28" name="Picture 27" descr="ita-footer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6423" y="3064688"/>
            <a:ext cx="2305701" cy="988158"/>
          </a:xfrm>
          <a:prstGeom prst="rect">
            <a:avLst/>
          </a:prstGeom>
        </p:spPr>
      </p:pic>
      <p:pic>
        <p:nvPicPr>
          <p:cNvPr id="29" name="Picture 28" descr="juniper.pn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6142" y="3064688"/>
            <a:ext cx="2305701" cy="988158"/>
          </a:xfrm>
          <a:prstGeom prst="rect">
            <a:avLst/>
          </a:prstGeom>
        </p:spPr>
      </p:pic>
      <p:pic>
        <p:nvPicPr>
          <p:cNvPr id="30" name="Picture 29" descr="nist-footer.pn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8784" y="4358110"/>
            <a:ext cx="2227075" cy="954461"/>
          </a:xfrm>
          <a:prstGeom prst="rect">
            <a:avLst/>
          </a:prstGeom>
        </p:spPr>
      </p:pic>
      <p:pic>
        <p:nvPicPr>
          <p:cNvPr id="31" name="Picture 30" descr="nsf-footer.png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722" y="4358109"/>
            <a:ext cx="2305701" cy="988158"/>
          </a:xfrm>
          <a:prstGeom prst="rect">
            <a:avLst/>
          </a:prstGeom>
        </p:spPr>
      </p:pic>
      <p:pic>
        <p:nvPicPr>
          <p:cNvPr id="33" name="Picture 32" descr="qualcomm.pn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1560" y="4358109"/>
            <a:ext cx="2305701" cy="988158"/>
          </a:xfrm>
          <a:prstGeom prst="rect">
            <a:avLst/>
          </a:prstGeom>
        </p:spPr>
      </p:pic>
      <p:pic>
        <p:nvPicPr>
          <p:cNvPr id="34" name="Picture 33" descr="us-dept-energy-footer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6142" y="4324412"/>
            <a:ext cx="2305701" cy="988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1422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2911623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89878" y="2107013"/>
            <a:ext cx="10711901" cy="1755673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4200" b="1" baseline="0">
                <a:solidFill>
                  <a:srgbClr val="17B5D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“Quote text goes here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.”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89878" y="4014007"/>
            <a:ext cx="107119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dirty="0">
                <a:solidFill>
                  <a:schemeClr val="tx1"/>
                </a:solidFill>
                <a:latin typeface="+mj-lt"/>
              </a:rPr>
              <a:t>Quote Source (Name)</a:t>
            </a:r>
          </a:p>
        </p:txBody>
      </p:sp>
    </p:spTree>
    <p:extLst>
      <p:ext uri="{BB962C8B-B14F-4D97-AF65-F5344CB8AC3E}">
        <p14:creationId xmlns:p14="http://schemas.microsoft.com/office/powerpoint/2010/main" val="27798941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B5D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8" name="Picture 7" descr="lines-whiteoverlay copy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9" t="14708" r="5709" b="10768"/>
          <a:stretch/>
        </p:blipFill>
        <p:spPr>
          <a:xfrm>
            <a:off x="-2017776" y="6002"/>
            <a:ext cx="16227552" cy="684599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9878" y="2107013"/>
            <a:ext cx="10711901" cy="1755673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42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Section Title of the Presentation</a:t>
            </a: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90033" y="4000503"/>
            <a:ext cx="10712451" cy="74083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>
                <a:latin typeface="Arial"/>
                <a:cs typeface="Arial"/>
              </a:defRPr>
            </a:lvl1pPr>
          </a:lstStyle>
          <a:p>
            <a:pPr algn="ctr"/>
            <a:r>
              <a:rPr lang="en-US" sz="2000" b="0">
                <a:solidFill>
                  <a:schemeClr val="bg1"/>
                </a:solidFill>
              </a:rPr>
              <a:t>Subtitle for Section</a:t>
            </a:r>
            <a:r>
              <a:rPr lang="en-US" sz="2000" b="0" baseline="0">
                <a:solidFill>
                  <a:schemeClr val="bg1"/>
                </a:solidFill>
              </a:rPr>
              <a:t> of Presentation</a:t>
            </a:r>
            <a:endParaRPr lang="en-US" sz="20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7797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6" name="Picture 5" descr="lines-whiteoverlay copy.png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89" t="14708" r="5709" b="10768"/>
          <a:stretch/>
        </p:blipFill>
        <p:spPr>
          <a:xfrm>
            <a:off x="-2017776" y="6002"/>
            <a:ext cx="16227552" cy="6845999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9878" y="2107013"/>
            <a:ext cx="10711901" cy="1755673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42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of the Presentation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89878" y="4014007"/>
            <a:ext cx="107119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dirty="0">
                <a:solidFill>
                  <a:srgbClr val="EF6C19"/>
                </a:solidFill>
                <a:latin typeface="Arial"/>
                <a:cs typeface="Arial"/>
              </a:rPr>
              <a:t>Subtitle for Section</a:t>
            </a:r>
            <a:r>
              <a:rPr lang="en-US" sz="2000" b="0" baseline="0" dirty="0">
                <a:solidFill>
                  <a:srgbClr val="EF6C19"/>
                </a:solidFill>
                <a:latin typeface="Arial"/>
                <a:cs typeface="Arial"/>
              </a:rPr>
              <a:t> of Presentation</a:t>
            </a:r>
            <a:endParaRPr lang="en-US" sz="2000" b="0" dirty="0">
              <a:solidFill>
                <a:srgbClr val="EF6C19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41699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456357" y="1986055"/>
            <a:ext cx="5400516" cy="190861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latin typeface="Arial"/>
                <a:cs typeface="Arial"/>
              </a:defRPr>
            </a:lvl1pPr>
          </a:lstStyle>
          <a:p>
            <a:r>
              <a:rPr lang="en-US" dirty="0"/>
              <a:t>[ drag picture to placeholder or click icon to add ]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56352" y="4018054"/>
            <a:ext cx="5334848" cy="175432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/>
              <a:t>Column</a:t>
            </a:r>
            <a:r>
              <a:rPr lang="en-US" sz="1800" b="1" baseline="0" dirty="0"/>
              <a:t> Header (18pt bold)</a:t>
            </a:r>
          </a:p>
          <a:p>
            <a:pPr>
              <a:lnSpc>
                <a:spcPct val="150000"/>
              </a:lnSpc>
            </a:pPr>
            <a:r>
              <a:rPr lang="en-US" sz="1800" dirty="0" err="1"/>
              <a:t>Lorem</a:t>
            </a:r>
            <a:r>
              <a:rPr lang="en-US" sz="1800" dirty="0"/>
              <a:t> </a:t>
            </a:r>
            <a:r>
              <a:rPr lang="en-US" sz="1800" dirty="0" err="1"/>
              <a:t>ipsum</a:t>
            </a:r>
            <a:r>
              <a:rPr lang="en-US" sz="1800" dirty="0"/>
              <a:t> dolor sit </a:t>
            </a:r>
            <a:r>
              <a:rPr lang="en-US" sz="1800" dirty="0" err="1"/>
              <a:t>amet</a:t>
            </a:r>
            <a:r>
              <a:rPr lang="en-US" sz="1800" dirty="0"/>
              <a:t>, </a:t>
            </a:r>
            <a:r>
              <a:rPr lang="en-US" sz="1800" dirty="0" err="1"/>
              <a:t>adipi</a:t>
            </a:r>
            <a:r>
              <a:rPr lang="en-US" sz="1800" dirty="0"/>
              <a:t> </a:t>
            </a:r>
            <a:r>
              <a:rPr lang="en-US" sz="1800" dirty="0" err="1"/>
              <a:t>elit</a:t>
            </a:r>
            <a:r>
              <a:rPr lang="en-US" sz="1800" dirty="0"/>
              <a:t>. </a:t>
            </a:r>
          </a:p>
          <a:p>
            <a:pPr marL="0" marR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aseline="0" dirty="0"/>
              <a:t>List item text, first level (18pt)</a:t>
            </a:r>
          </a:p>
          <a:p>
            <a:pPr>
              <a:lnSpc>
                <a:spcPct val="150000"/>
              </a:lnSpc>
            </a:pPr>
            <a:endParaRPr lang="en-US" sz="1800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6300478" y="1986055"/>
            <a:ext cx="5400516" cy="190861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latin typeface="Arial"/>
                <a:cs typeface="Arial"/>
              </a:defRPr>
            </a:lvl1pPr>
          </a:lstStyle>
          <a:p>
            <a:r>
              <a:rPr lang="en-US" dirty="0"/>
              <a:t>[ drag picture to placeholder or click icon to add ] 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6300473" y="4018054"/>
            <a:ext cx="5334848" cy="175432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/>
              <a:t>Column</a:t>
            </a:r>
            <a:r>
              <a:rPr lang="en-US" sz="1800" b="1" baseline="0" dirty="0"/>
              <a:t> Header (18pt bold)</a:t>
            </a:r>
          </a:p>
          <a:p>
            <a:pPr>
              <a:lnSpc>
                <a:spcPct val="150000"/>
              </a:lnSpc>
            </a:pPr>
            <a:r>
              <a:rPr lang="en-US" sz="1800" dirty="0" err="1"/>
              <a:t>Lorem</a:t>
            </a:r>
            <a:r>
              <a:rPr lang="en-US" sz="1800" dirty="0"/>
              <a:t> </a:t>
            </a:r>
            <a:r>
              <a:rPr lang="en-US" sz="1800" dirty="0" err="1"/>
              <a:t>ipsum</a:t>
            </a:r>
            <a:r>
              <a:rPr lang="en-US" sz="1800" dirty="0"/>
              <a:t> dolor sit </a:t>
            </a:r>
            <a:r>
              <a:rPr lang="en-US" sz="1800" dirty="0" err="1"/>
              <a:t>amet</a:t>
            </a:r>
            <a:r>
              <a:rPr lang="en-US" sz="1800" dirty="0"/>
              <a:t>, </a:t>
            </a:r>
            <a:r>
              <a:rPr lang="en-US" sz="1800" dirty="0" err="1"/>
              <a:t>adipi</a:t>
            </a:r>
            <a:r>
              <a:rPr lang="en-US" sz="1800" dirty="0"/>
              <a:t> </a:t>
            </a:r>
            <a:r>
              <a:rPr lang="en-US" sz="1800" dirty="0" err="1"/>
              <a:t>elit</a:t>
            </a:r>
            <a:r>
              <a:rPr lang="en-US" sz="1800" dirty="0"/>
              <a:t>. </a:t>
            </a:r>
          </a:p>
          <a:p>
            <a:pPr marL="0" marR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aseline="0" dirty="0"/>
              <a:t>List item text, first level (18pt)</a:t>
            </a:r>
          </a:p>
          <a:p>
            <a:pPr>
              <a:lnSpc>
                <a:spcPct val="15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0557303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89303"/>
            <a:ext cx="11244635" cy="6589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or Icons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1158615"/>
            <a:ext cx="11244636" cy="442993"/>
          </a:xfrm>
          <a:prstGeom prst="rect">
            <a:avLst/>
          </a:prstGeom>
        </p:spPr>
        <p:txBody>
          <a:bodyPr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42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19628035" y="3175942"/>
            <a:ext cx="2857128" cy="380060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HEALTH</a:t>
            </a:r>
          </a:p>
        </p:txBody>
      </p:sp>
      <p:sp>
        <p:nvSpPr>
          <p:cNvPr id="45" name="Text Placeholder 17"/>
          <p:cNvSpPr>
            <a:spLocks noGrp="1"/>
          </p:cNvSpPr>
          <p:nvPr>
            <p:ph type="body" sz="quarter" idx="34" hasCustomPrompt="1"/>
          </p:nvPr>
        </p:nvSpPr>
        <p:spPr>
          <a:xfrm>
            <a:off x="19628035" y="5012266"/>
            <a:ext cx="2857128" cy="380060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TRANSPORTATION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1458568" y="4642556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ENERGY</a:t>
            </a:r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35" hasCustomPrompt="1"/>
          </p:nvPr>
        </p:nvSpPr>
        <p:spPr>
          <a:xfrm>
            <a:off x="1458568" y="2960513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HEALTH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4662513" y="4642556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MANUFACTURING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36" hasCustomPrompt="1"/>
          </p:nvPr>
        </p:nvSpPr>
        <p:spPr>
          <a:xfrm>
            <a:off x="4662513" y="2947811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TRANSPORTATION</a:t>
            </a:r>
          </a:p>
        </p:txBody>
      </p:sp>
      <p:pic>
        <p:nvPicPr>
          <p:cNvPr id="33" name="Picture 32" descr="energ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666" y="3791655"/>
            <a:ext cx="1032933" cy="774700"/>
          </a:xfrm>
          <a:prstGeom prst="rect">
            <a:avLst/>
          </a:prstGeom>
        </p:spPr>
      </p:pic>
      <p:pic>
        <p:nvPicPr>
          <p:cNvPr id="46" name="Picture 45" descr="health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666" y="2109612"/>
            <a:ext cx="1032933" cy="774700"/>
          </a:xfrm>
          <a:prstGeom prst="rect">
            <a:avLst/>
          </a:prstGeom>
        </p:spPr>
      </p:pic>
      <p:pic>
        <p:nvPicPr>
          <p:cNvPr id="47" name="Picture 46" descr="manufacturing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4611" y="3791655"/>
            <a:ext cx="1032933" cy="774700"/>
          </a:xfrm>
          <a:prstGeom prst="rect">
            <a:avLst/>
          </a:prstGeom>
        </p:spPr>
      </p:pic>
      <p:pic>
        <p:nvPicPr>
          <p:cNvPr id="48" name="Picture 47" descr="transportation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4611" y="2096910"/>
            <a:ext cx="1032933" cy="774700"/>
          </a:xfrm>
          <a:prstGeom prst="rect">
            <a:avLst/>
          </a:prstGeom>
        </p:spPr>
      </p:pic>
      <p:sp>
        <p:nvSpPr>
          <p:cNvPr id="49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7791635" y="4642556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GENERAL</a:t>
            </a:r>
          </a:p>
        </p:txBody>
      </p:sp>
      <p:pic>
        <p:nvPicPr>
          <p:cNvPr id="50" name="Picture 49" descr="general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3732" y="3791655"/>
            <a:ext cx="1032933" cy="774700"/>
          </a:xfrm>
          <a:prstGeom prst="rect">
            <a:avLst/>
          </a:prstGeom>
        </p:spPr>
      </p:pic>
      <p:sp>
        <p:nvSpPr>
          <p:cNvPr id="51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7791635" y="2960513"/>
            <a:ext cx="2857128" cy="285045"/>
          </a:xfrm>
          <a:prstGeom prst="rect">
            <a:avLst/>
          </a:prstGeom>
        </p:spPr>
        <p:txBody>
          <a:bodyPr lIns="0" tIns="4572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 cap="all">
                <a:solidFill>
                  <a:srgbClr val="FF860E"/>
                </a:solidFill>
                <a:latin typeface="Arial"/>
                <a:cs typeface="Arial"/>
              </a:defRPr>
            </a:lvl1pPr>
            <a:lvl2pPr marL="174150" indent="0" algn="ct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05050"/>
                </a:solidFill>
                <a:latin typeface="Arial"/>
                <a:cs typeface="Arial"/>
              </a:defRPr>
            </a:lvl2pPr>
            <a:lvl3pPr marL="467155" indent="-128272">
              <a:lnSpc>
                <a:spcPct val="130000"/>
              </a:lnSpc>
              <a:tabLst>
                <a:tab pos="513056" algn="l"/>
              </a:tabLst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3pPr>
            <a:lvl4pPr marL="595429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4pPr>
            <a:lvl5pPr marL="723692" indent="-128272">
              <a:lnSpc>
                <a:spcPct val="130000"/>
              </a:lnSpc>
              <a:defRPr sz="13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Public SAFETY</a:t>
            </a:r>
          </a:p>
        </p:txBody>
      </p:sp>
      <p:pic>
        <p:nvPicPr>
          <p:cNvPr id="52" name="Picture 51" descr="public-safet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3732" y="2109612"/>
            <a:ext cx="1032933" cy="77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6798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B5D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6" name="Picture 5" descr="lines-whiteoverlay copy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9" t="14708" r="5709" b="10768"/>
          <a:stretch/>
        </p:blipFill>
        <p:spPr>
          <a:xfrm>
            <a:off x="-2017776" y="6002"/>
            <a:ext cx="16227552" cy="6845999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6640" y="2126141"/>
            <a:ext cx="11288891" cy="2100573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defRPr sz="48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341782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370372" y="504825"/>
            <a:ext cx="11451271" cy="0"/>
          </a:xfrm>
          <a:prstGeom prst="line">
            <a:avLst/>
          </a:prstGeom>
          <a:ln w="47625">
            <a:gradFill flip="none" rotWithShape="1">
              <a:gsLst>
                <a:gs pos="100000">
                  <a:srgbClr val="004274"/>
                </a:gs>
                <a:gs pos="0">
                  <a:srgbClr val="008E95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3538" y="736620"/>
            <a:ext cx="11432977" cy="507831"/>
          </a:xfrm>
          <a:prstGeom prst="rect">
            <a:avLst/>
          </a:prstGeom>
        </p:spPr>
        <p:txBody>
          <a:bodyPr vert="horz" wrap="square" lIns="91416" tIns="45709" rIns="91416" bIns="45709" rtlCol="0" anchor="ctr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283538" y="1426474"/>
            <a:ext cx="11432977" cy="350865"/>
          </a:xfrm>
        </p:spPr>
        <p:txBody>
          <a:bodyPr tIns="0" bIns="0" anchor="t"/>
          <a:lstStyle>
            <a:lvl1pPr marL="0" indent="0">
              <a:buNone/>
              <a:defRPr sz="2400" b="0">
                <a:solidFill>
                  <a:schemeClr val="bg2"/>
                </a:solidFill>
              </a:defRPr>
            </a:lvl1pPr>
            <a:lvl2pPr marL="457081" indent="0">
              <a:buNone/>
              <a:defRPr sz="2000" b="1"/>
            </a:lvl2pPr>
            <a:lvl3pPr marL="914171" indent="0">
              <a:buNone/>
              <a:defRPr sz="1900" b="1"/>
            </a:lvl3pPr>
            <a:lvl4pPr marL="1371256" indent="0">
              <a:buNone/>
              <a:defRPr sz="1600" b="1"/>
            </a:lvl4pPr>
            <a:lvl5pPr marL="1828344" indent="0">
              <a:buNone/>
              <a:defRPr sz="1600" b="1"/>
            </a:lvl5pPr>
            <a:lvl6pPr marL="2285425" indent="0">
              <a:buNone/>
              <a:defRPr sz="1600" b="1"/>
            </a:lvl6pPr>
            <a:lvl7pPr marL="2742515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82322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with no content">
    <p:bg>
      <p:bgPr>
        <a:gradFill>
          <a:gsLst>
            <a:gs pos="100000">
              <a:srgbClr val="8F297C"/>
            </a:gs>
            <a:gs pos="0">
              <a:srgbClr val="003B66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3538" y="621795"/>
            <a:ext cx="11432977" cy="5078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283538" y="1115571"/>
            <a:ext cx="11432977" cy="409343"/>
          </a:xfrm>
        </p:spPr>
        <p:txBody>
          <a:bodyPr tIns="0" bIns="0" anchor="t"/>
          <a:lstStyle>
            <a:lvl1pPr marL="0" indent="0">
              <a:buNone/>
              <a:defRPr sz="28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749167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538" y="5723888"/>
            <a:ext cx="11432977" cy="507831"/>
          </a:xfrm>
        </p:spPr>
        <p:txBody>
          <a:bodyPr/>
          <a:lstStyle>
            <a:lvl1pPr>
              <a:defRPr>
                <a:latin typeface="Qualcomm Office Bold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79512" y="5469879"/>
            <a:ext cx="11432977" cy="0"/>
          </a:xfrm>
          <a:prstGeom prst="line">
            <a:avLst/>
          </a:prstGeom>
          <a:ln w="38100">
            <a:gradFill flip="none" rotWithShape="1">
              <a:gsLst>
                <a:gs pos="0">
                  <a:srgbClr val="143C66"/>
                </a:gs>
                <a:gs pos="100000">
                  <a:srgbClr val="008E95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50106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D_title slide">
    <p:bg bwMode="gray">
      <p:bgPr>
        <a:gradFill>
          <a:gsLst>
            <a:gs pos="100000">
              <a:srgbClr val="EB2027"/>
            </a:gs>
            <a:gs pos="0">
              <a:srgbClr val="78121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538" y="676656"/>
            <a:ext cx="11432977" cy="5078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>
                <a:solidFill>
                  <a:schemeClr val="bg1"/>
                </a:solidFill>
                <a:latin typeface="Qualcomm Office Regular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3"/>
          </p:nvPr>
        </p:nvSpPr>
        <p:spPr>
          <a:xfrm>
            <a:off x="283538" y="1120403"/>
            <a:ext cx="11432977" cy="350865"/>
          </a:xfrm>
        </p:spPr>
        <p:txBody>
          <a:bodyPr tIns="0" bIns="0" anchor="t"/>
          <a:lstStyle>
            <a:lvl1pPr marL="0" indent="0">
              <a:buNone/>
              <a:defRPr sz="2400" b="0">
                <a:solidFill>
                  <a:schemeClr val="accent2"/>
                </a:solidFill>
                <a:latin typeface="Qualcomm Office Regular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35388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with no content">
    <p:bg>
      <p:bgPr>
        <a:gradFill>
          <a:gsLst>
            <a:gs pos="100000">
              <a:srgbClr val="BC141A"/>
            </a:gs>
            <a:gs pos="0">
              <a:srgbClr val="781214">
                <a:lumMod val="96000"/>
              </a:srgb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Rectangle 1"/>
          <p:cNvSpPr/>
          <p:nvPr userDrawn="1"/>
        </p:nvSpPr>
        <p:spPr bwMode="auto">
          <a:xfrm>
            <a:off x="11141957" y="6386947"/>
            <a:ext cx="1050044" cy="471055"/>
          </a:xfrm>
          <a:prstGeom prst="rect">
            <a:avLst/>
          </a:prstGeom>
          <a:ln>
            <a:noFill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601294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370365" y="504825"/>
            <a:ext cx="11451271" cy="0"/>
          </a:xfrm>
          <a:prstGeom prst="line">
            <a:avLst/>
          </a:prstGeom>
          <a:ln w="47625">
            <a:gradFill flip="none" rotWithShape="1">
              <a:gsLst>
                <a:gs pos="100000">
                  <a:srgbClr val="004274"/>
                </a:gs>
                <a:gs pos="0">
                  <a:srgbClr val="008E95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3538" y="736618"/>
            <a:ext cx="11432977" cy="5078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859297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1375" y="340927"/>
            <a:ext cx="11452261" cy="704039"/>
          </a:xfrm>
        </p:spPr>
        <p:txBody>
          <a:bodyPr/>
          <a:lstStyle>
            <a:lvl1pPr>
              <a:defRPr sz="5300" baseline="0">
                <a:solidFill>
                  <a:srgbClr val="0068B7"/>
                </a:solidFill>
                <a:latin typeface="Trebuchet MS" pitchFamily="34" charset="0"/>
                <a:ea typeface="微软雅黑" pitchFamily="34" charset="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914404" y="1196755"/>
            <a:ext cx="10363200" cy="3600986"/>
          </a:xfrm>
        </p:spPr>
        <p:txBody>
          <a:bodyPr/>
          <a:lstStyle>
            <a:lvl1pPr marL="685652" indent="-685652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l"/>
              <a:defRPr sz="4000" baseline="0">
                <a:latin typeface="Trebuchet MS" pitchFamily="34" charset="0"/>
                <a:ea typeface="黑体" pitchFamily="2" charset="-122"/>
              </a:defRPr>
            </a:lvl1pPr>
            <a:lvl2pPr marL="1218936" indent="-607352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itchFamily="34" charset="0"/>
              <a:buChar char="◦"/>
              <a:defRPr sz="3500" baseline="0">
                <a:latin typeface="Trebuchet MS" pitchFamily="34" charset="0"/>
                <a:ea typeface="黑体" pitchFamily="2" charset="-122"/>
              </a:defRPr>
            </a:lvl2pPr>
            <a:lvl3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2900" baseline="0">
                <a:latin typeface="Trebuchet MS" pitchFamily="34" charset="0"/>
                <a:ea typeface="黑体" pitchFamily="2" charset="-122"/>
              </a:defRPr>
            </a:lvl3pPr>
            <a:lvl4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2400" baseline="0">
                <a:latin typeface="Trebuchet MS" pitchFamily="34" charset="0"/>
                <a:ea typeface="黑体" pitchFamily="2" charset="-122"/>
              </a:defRPr>
            </a:lvl4pPr>
            <a:lvl5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2400" baseline="0">
                <a:latin typeface="Trebuchet MS" pitchFamily="34" charset="0"/>
                <a:ea typeface="黑体" pitchFamily="2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833376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70366" y="504825"/>
            <a:ext cx="11451271" cy="0"/>
          </a:xfrm>
          <a:prstGeom prst="line">
            <a:avLst/>
          </a:prstGeom>
          <a:ln w="47625">
            <a:gradFill flip="none" rotWithShape="1">
              <a:gsLst>
                <a:gs pos="100000">
                  <a:srgbClr val="004274"/>
                </a:gs>
                <a:gs pos="0">
                  <a:srgbClr val="008E95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765749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6"/>
          <p:cNvSpPr>
            <a:spLocks noGrp="1"/>
          </p:cNvSpPr>
          <p:nvPr>
            <p:ph type="media" sz="quarter" idx="11"/>
          </p:nvPr>
        </p:nvSpPr>
        <p:spPr>
          <a:xfrm>
            <a:off x="456354" y="376122"/>
            <a:ext cx="11243733" cy="421481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latin typeface="Arial"/>
                <a:cs typeface="Arial"/>
              </a:defRPr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56355" y="4779082"/>
            <a:ext cx="11244635" cy="658903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algn="l">
              <a:defRPr sz="2800" b="1" baseline="0">
                <a:solidFill>
                  <a:srgbClr val="262626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358" y="5448394"/>
            <a:ext cx="11244636" cy="442993"/>
          </a:xfrm>
          <a:prstGeom prst="rect">
            <a:avLst/>
          </a:prstGeom>
        </p:spPr>
        <p:txBody>
          <a:bodyPr wrap="square" lIns="0" rIns="0"/>
          <a:lstStyle>
            <a:lvl1pPr marL="0" indent="0" algn="l">
              <a:buNone/>
              <a:defRPr sz="2000" baseline="0">
                <a:solidFill>
                  <a:srgbClr val="01B5E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6726789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660374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lPlay House subd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93"/>
            <a:ext cx="1219517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3542" y="410051"/>
            <a:ext cx="11908463" cy="5078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650731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370372" y="504825"/>
            <a:ext cx="11451271" cy="0"/>
          </a:xfrm>
          <a:prstGeom prst="line">
            <a:avLst/>
          </a:prstGeom>
          <a:ln w="47625">
            <a:gradFill flip="none" rotWithShape="1">
              <a:gsLst>
                <a:gs pos="100000">
                  <a:srgbClr val="004274"/>
                </a:gs>
                <a:gs pos="0">
                  <a:srgbClr val="008E95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3538" y="736620"/>
            <a:ext cx="11432977" cy="507831"/>
          </a:xfrm>
          <a:prstGeom prst="rect">
            <a:avLst/>
          </a:prstGeom>
        </p:spPr>
        <p:txBody>
          <a:bodyPr vert="horz" wrap="square" lIns="91416" tIns="45709" rIns="91416" bIns="45709" rtlCol="0" anchor="ctr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283538" y="1426474"/>
            <a:ext cx="11432977" cy="350865"/>
          </a:xfrm>
        </p:spPr>
        <p:txBody>
          <a:bodyPr tIns="0" bIns="0" anchor="t"/>
          <a:lstStyle>
            <a:lvl1pPr marL="0" indent="0">
              <a:buNone/>
              <a:defRPr sz="2400" b="0">
                <a:solidFill>
                  <a:schemeClr val="bg2"/>
                </a:solidFill>
              </a:defRPr>
            </a:lvl1pPr>
            <a:lvl2pPr marL="457081" indent="0">
              <a:buNone/>
              <a:defRPr sz="2000" b="1"/>
            </a:lvl2pPr>
            <a:lvl3pPr marL="914171" indent="0">
              <a:buNone/>
              <a:defRPr sz="1900" b="1"/>
            </a:lvl3pPr>
            <a:lvl4pPr marL="1371256" indent="0">
              <a:buNone/>
              <a:defRPr sz="1600" b="1"/>
            </a:lvl4pPr>
            <a:lvl5pPr marL="1828344" indent="0">
              <a:buNone/>
              <a:defRPr sz="1600" b="1"/>
            </a:lvl5pPr>
            <a:lvl6pPr marL="2285425" indent="0">
              <a:buNone/>
              <a:defRPr sz="1600" b="1"/>
            </a:lvl6pPr>
            <a:lvl7pPr marL="2742515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45343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with no content">
    <p:bg>
      <p:bgPr>
        <a:gradFill>
          <a:gsLst>
            <a:gs pos="100000">
              <a:srgbClr val="8F297C"/>
            </a:gs>
            <a:gs pos="0">
              <a:srgbClr val="003B66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3538" y="621795"/>
            <a:ext cx="11432977" cy="5078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283538" y="1115571"/>
            <a:ext cx="11432977" cy="409343"/>
          </a:xfrm>
        </p:spPr>
        <p:txBody>
          <a:bodyPr tIns="0" bIns="0" anchor="t"/>
          <a:lstStyle>
            <a:lvl1pPr marL="0" indent="0">
              <a:buNone/>
              <a:defRPr sz="28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048538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538" y="5723888"/>
            <a:ext cx="11432977" cy="507831"/>
          </a:xfrm>
        </p:spPr>
        <p:txBody>
          <a:bodyPr/>
          <a:lstStyle>
            <a:lvl1pPr>
              <a:defRPr>
                <a:latin typeface="Qualcomm Office Bold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79512" y="5469879"/>
            <a:ext cx="11432977" cy="0"/>
          </a:xfrm>
          <a:prstGeom prst="line">
            <a:avLst/>
          </a:prstGeom>
          <a:ln w="38100">
            <a:gradFill flip="none" rotWithShape="1">
              <a:gsLst>
                <a:gs pos="0">
                  <a:srgbClr val="143C66"/>
                </a:gs>
                <a:gs pos="100000">
                  <a:srgbClr val="008E95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09481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D_title slide">
    <p:bg bwMode="gray">
      <p:bgPr>
        <a:gradFill>
          <a:gsLst>
            <a:gs pos="100000">
              <a:srgbClr val="EB2027"/>
            </a:gs>
            <a:gs pos="0">
              <a:srgbClr val="78121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538" y="676656"/>
            <a:ext cx="11432977" cy="5078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>
                <a:solidFill>
                  <a:schemeClr val="bg1"/>
                </a:solidFill>
                <a:latin typeface="Qualcomm Office Regular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3"/>
          </p:nvPr>
        </p:nvSpPr>
        <p:spPr>
          <a:xfrm>
            <a:off x="283538" y="1120403"/>
            <a:ext cx="11432977" cy="350865"/>
          </a:xfrm>
        </p:spPr>
        <p:txBody>
          <a:bodyPr tIns="0" bIns="0" anchor="t"/>
          <a:lstStyle>
            <a:lvl1pPr marL="0" indent="0">
              <a:buNone/>
              <a:defRPr sz="2400" b="0">
                <a:solidFill>
                  <a:schemeClr val="accent2"/>
                </a:solidFill>
                <a:latin typeface="Qualcomm Office Regular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466755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with no content">
    <p:bg>
      <p:bgPr>
        <a:gradFill>
          <a:gsLst>
            <a:gs pos="100000">
              <a:srgbClr val="BC141A"/>
            </a:gs>
            <a:gs pos="0">
              <a:srgbClr val="781214">
                <a:lumMod val="96000"/>
              </a:srgb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Rectangle 1"/>
          <p:cNvSpPr/>
          <p:nvPr userDrawn="1"/>
        </p:nvSpPr>
        <p:spPr bwMode="auto">
          <a:xfrm>
            <a:off x="11141957" y="6386947"/>
            <a:ext cx="1050044" cy="471055"/>
          </a:xfrm>
          <a:prstGeom prst="rect">
            <a:avLst/>
          </a:prstGeom>
          <a:ln>
            <a:noFill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389732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370365" y="504825"/>
            <a:ext cx="11451271" cy="0"/>
          </a:xfrm>
          <a:prstGeom prst="line">
            <a:avLst/>
          </a:prstGeom>
          <a:ln w="47625">
            <a:gradFill flip="none" rotWithShape="1">
              <a:gsLst>
                <a:gs pos="100000">
                  <a:srgbClr val="004274"/>
                </a:gs>
                <a:gs pos="0">
                  <a:srgbClr val="008E95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83538" y="736618"/>
            <a:ext cx="11432977" cy="5078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79239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1375" y="340927"/>
            <a:ext cx="11452261" cy="704039"/>
          </a:xfrm>
        </p:spPr>
        <p:txBody>
          <a:bodyPr/>
          <a:lstStyle>
            <a:lvl1pPr>
              <a:defRPr sz="5300" baseline="0">
                <a:solidFill>
                  <a:srgbClr val="0068B7"/>
                </a:solidFill>
                <a:latin typeface="Trebuchet MS" pitchFamily="34" charset="0"/>
                <a:ea typeface="微软雅黑" pitchFamily="34" charset="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914404" y="1196755"/>
            <a:ext cx="10363200" cy="3600986"/>
          </a:xfrm>
        </p:spPr>
        <p:txBody>
          <a:bodyPr/>
          <a:lstStyle>
            <a:lvl1pPr marL="685652" indent="-685652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l"/>
              <a:defRPr sz="4000" baseline="0">
                <a:latin typeface="Trebuchet MS" pitchFamily="34" charset="0"/>
                <a:ea typeface="黑体" pitchFamily="2" charset="-122"/>
              </a:defRPr>
            </a:lvl1pPr>
            <a:lvl2pPr marL="1218936" indent="-607352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itchFamily="34" charset="0"/>
              <a:buChar char="◦"/>
              <a:defRPr sz="3500" baseline="0">
                <a:latin typeface="Trebuchet MS" pitchFamily="34" charset="0"/>
                <a:ea typeface="黑体" pitchFamily="2" charset="-122"/>
              </a:defRPr>
            </a:lvl2pPr>
            <a:lvl3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2900" baseline="0">
                <a:latin typeface="Trebuchet MS" pitchFamily="34" charset="0"/>
                <a:ea typeface="黑体" pitchFamily="2" charset="-122"/>
              </a:defRPr>
            </a:lvl3pPr>
            <a:lvl4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2400" baseline="0">
                <a:latin typeface="Trebuchet MS" pitchFamily="34" charset="0"/>
                <a:ea typeface="黑体" pitchFamily="2" charset="-122"/>
              </a:defRPr>
            </a:lvl4pPr>
            <a:lvl5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2400" baseline="0">
                <a:latin typeface="Trebuchet MS" pitchFamily="34" charset="0"/>
                <a:ea typeface="黑体" pitchFamily="2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276188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70366" y="504825"/>
            <a:ext cx="11451271" cy="0"/>
          </a:xfrm>
          <a:prstGeom prst="line">
            <a:avLst/>
          </a:prstGeom>
          <a:ln w="47625">
            <a:gradFill flip="none" rotWithShape="1">
              <a:gsLst>
                <a:gs pos="100000">
                  <a:srgbClr val="004274"/>
                </a:gs>
                <a:gs pos="0">
                  <a:srgbClr val="008E95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97923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7200" y="524936"/>
            <a:ext cx="5350933" cy="535093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800"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82267" y="3471336"/>
            <a:ext cx="5350933" cy="240453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80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282267" y="524933"/>
            <a:ext cx="5350933" cy="240453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800"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454159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567487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lPlay House subd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93"/>
            <a:ext cx="1219517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3542" y="410051"/>
            <a:ext cx="11908463" cy="5078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66096" y="6540519"/>
            <a:ext cx="5001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71"/>
            <a:r>
              <a:rPr lang="en-US" sz="800" dirty="0">
                <a:solidFill>
                  <a:srgbClr val="FFFFFF">
                    <a:lumMod val="75000"/>
                  </a:srgbClr>
                </a:solidFill>
              </a:rPr>
              <a:t>©2013-2015 Qualcomm Technologies, Inc. and/or its affiliated compan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313459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PP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 descr="GENI-logo-fina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1200" y="76201"/>
            <a:ext cx="1422400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643467" y="6577014"/>
            <a:ext cx="441113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srgbClr val="808080"/>
                </a:solidFill>
              </a:rPr>
              <a:t>Sponsored by the National Science Foundation</a:t>
            </a:r>
          </a:p>
        </p:txBody>
      </p:sp>
      <p:pic>
        <p:nvPicPr>
          <p:cNvPr id="7" name="Picture 15" descr="nsf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57718" y="6573838"/>
            <a:ext cx="374649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914400" y="1447801"/>
            <a:ext cx="10363200" cy="1470025"/>
          </a:xfrm>
        </p:spPr>
        <p:txBody>
          <a:bodyPr/>
          <a:lstStyle>
            <a:lvl1pPr>
              <a:defRPr sz="3500">
                <a:solidFill>
                  <a:srgbClr val="1C1C1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395" name="Rectangle 11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743200" y="4495800"/>
            <a:ext cx="8534400" cy="1752600"/>
          </a:xfrm>
        </p:spPr>
        <p:txBody>
          <a:bodyPr/>
          <a:lstStyle>
            <a:lvl1pPr marL="0" indent="0" algn="r">
              <a:buFontTx/>
              <a:buNone/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5757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83637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61528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47800"/>
            <a:ext cx="55372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50000" y="1447800"/>
            <a:ext cx="55372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93831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77079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55792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46001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27927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89878" y="2107013"/>
            <a:ext cx="10711901" cy="1755673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4200" b="1" baseline="0">
                <a:solidFill>
                  <a:srgbClr val="FF860E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“Quote text goes here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.”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89878" y="4014007"/>
            <a:ext cx="107119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dirty="0">
                <a:solidFill>
                  <a:schemeClr val="tx1"/>
                </a:solidFill>
                <a:latin typeface="+mj-lt"/>
              </a:rPr>
              <a:t>Quote Source (Name)</a:t>
            </a:r>
          </a:p>
        </p:txBody>
      </p:sp>
    </p:spTree>
    <p:extLst>
      <p:ext uri="{BB962C8B-B14F-4D97-AF65-F5344CB8AC3E}">
        <p14:creationId xmlns:p14="http://schemas.microsoft.com/office/powerpoint/2010/main" val="37244355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6122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0066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800" y="0"/>
            <a:ext cx="2819400" cy="6324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0"/>
            <a:ext cx="8255000" cy="63246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97719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914400" y="0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09600" y="1447800"/>
            <a:ext cx="5537200" cy="2362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350000" y="1447800"/>
            <a:ext cx="5537200" cy="2362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09600" y="3962400"/>
            <a:ext cx="5537200" cy="2362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50000" y="3962400"/>
            <a:ext cx="5537200" cy="2362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82442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EC78-D00B-4978-9E45-1BDD288524B0}" type="datetimeFigureOut">
              <a:rPr lang="en-US" smtClean="0"/>
              <a:t>5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3DBF4-136A-4EAF-8B01-6D902A791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51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EC78-D00B-4978-9E45-1BDD288524B0}" type="datetimeFigureOut">
              <a:rPr lang="en-US" smtClean="0"/>
              <a:t>5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3DBF4-136A-4EAF-8B01-6D902A791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306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EC78-D00B-4978-9E45-1BDD288524B0}" type="datetimeFigureOut">
              <a:rPr lang="en-US" smtClean="0"/>
              <a:t>5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3DBF4-136A-4EAF-8B01-6D902A791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789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EC78-D00B-4978-9E45-1BDD288524B0}" type="datetimeFigureOut">
              <a:rPr lang="en-US" smtClean="0"/>
              <a:t>5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3DBF4-136A-4EAF-8B01-6D902A791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1492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EC78-D00B-4978-9E45-1BDD288524B0}" type="datetimeFigureOut">
              <a:rPr lang="en-US" smtClean="0"/>
              <a:t>5/10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3DBF4-136A-4EAF-8B01-6D902A791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536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EC78-D00B-4978-9E45-1BDD288524B0}" type="datetimeFigureOut">
              <a:rPr lang="en-US" smtClean="0"/>
              <a:t>5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3DBF4-136A-4EAF-8B01-6D902A791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2039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FF6C03"/>
              </a:gs>
              <a:gs pos="100000">
                <a:srgbClr val="FF860E"/>
              </a:gs>
            </a:gsLst>
            <a:lin ang="7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6" name="Picture 5" descr="lines-whiteoverlay copy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9" t="14708" r="5709" b="10768"/>
          <a:stretch/>
        </p:blipFill>
        <p:spPr>
          <a:xfrm>
            <a:off x="-2017776" y="6002"/>
            <a:ext cx="16227552" cy="6845999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89878" y="2107013"/>
            <a:ext cx="10711901" cy="1755673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42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of the Present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89328" y="3913486"/>
            <a:ext cx="10712451" cy="795867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3200">
                <a:latin typeface="Arial"/>
                <a:cs typeface="Arial"/>
              </a:defRPr>
            </a:lvl1pPr>
          </a:lstStyle>
          <a:p>
            <a:pPr algn="ctr"/>
            <a:r>
              <a:rPr lang="en-US" sz="2000" b="0" dirty="0">
                <a:solidFill>
                  <a:schemeClr val="bg1"/>
                </a:solidFill>
              </a:rPr>
              <a:t>Optional section subtitle text here</a:t>
            </a:r>
          </a:p>
        </p:txBody>
      </p:sp>
    </p:spTree>
    <p:extLst>
      <p:ext uri="{BB962C8B-B14F-4D97-AF65-F5344CB8AC3E}">
        <p14:creationId xmlns:p14="http://schemas.microsoft.com/office/powerpoint/2010/main" val="10844239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EC78-D00B-4978-9E45-1BDD288524B0}" type="datetimeFigureOut">
              <a:rPr lang="en-US" smtClean="0"/>
              <a:t>5/10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3DBF4-136A-4EAF-8B01-6D902A791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3602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EC78-D00B-4978-9E45-1BDD288524B0}" type="datetimeFigureOut">
              <a:rPr lang="en-US" smtClean="0"/>
              <a:t>5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3DBF4-136A-4EAF-8B01-6D902A791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5881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EC78-D00B-4978-9E45-1BDD288524B0}" type="datetimeFigureOut">
              <a:rPr lang="en-US" smtClean="0"/>
              <a:t>5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3DBF4-136A-4EAF-8B01-6D902A791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420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EC78-D00B-4978-9E45-1BDD288524B0}" type="datetimeFigureOut">
              <a:rPr lang="en-US" smtClean="0"/>
              <a:t>5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3DBF4-136A-4EAF-8B01-6D902A791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872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EC78-D00B-4978-9E45-1BDD288524B0}" type="datetimeFigureOut">
              <a:rPr lang="en-US" smtClean="0"/>
              <a:t>5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3DBF4-136A-4EAF-8B01-6D902A791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522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89878" y="2107013"/>
            <a:ext cx="10711901" cy="1755673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42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of the Present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0033" y="3885970"/>
            <a:ext cx="10712451" cy="116016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en-US" sz="3200" dirty="0">
                <a:solidFill>
                  <a:srgbClr val="FC7513"/>
                </a:solidFill>
                <a:latin typeface="Arial"/>
                <a:cs typeface="Arial"/>
              </a:defRPr>
            </a:lvl1pPr>
          </a:lstStyle>
          <a:p>
            <a:pPr algn="ctr"/>
            <a:r>
              <a:rPr lang="en-US" sz="2000" dirty="0">
                <a:solidFill>
                  <a:srgbClr val="FC7513"/>
                </a:solidFill>
                <a:latin typeface="+mj-lt"/>
              </a:rPr>
              <a:t>Optional section</a:t>
            </a:r>
            <a:r>
              <a:rPr lang="en-US" sz="2000" baseline="0" dirty="0">
                <a:solidFill>
                  <a:srgbClr val="FC7513"/>
                </a:solidFill>
                <a:latin typeface="+mj-lt"/>
              </a:rPr>
              <a:t> </a:t>
            </a:r>
            <a:r>
              <a:rPr lang="en-US" sz="2000" dirty="0">
                <a:solidFill>
                  <a:srgbClr val="FC7513"/>
                </a:solidFill>
                <a:latin typeface="+mj-lt"/>
              </a:rPr>
              <a:t>subtitle</a:t>
            </a:r>
            <a:r>
              <a:rPr lang="en-US" sz="2000" baseline="0" dirty="0">
                <a:solidFill>
                  <a:srgbClr val="FC7513"/>
                </a:solidFill>
                <a:latin typeface="+mj-lt"/>
              </a:rPr>
              <a:t> text here</a:t>
            </a:r>
            <a:endParaRPr lang="en-US" sz="2000" dirty="0">
              <a:solidFill>
                <a:srgbClr val="FC7513"/>
              </a:solidFill>
              <a:latin typeface="+mj-lt"/>
            </a:endParaRPr>
          </a:p>
        </p:txBody>
      </p:sp>
      <p:pic>
        <p:nvPicPr>
          <p:cNvPr id="6" name="Picture 5" descr="lines-whiteoverlay copy.png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89" t="14708" r="5709" b="10768"/>
          <a:stretch/>
        </p:blipFill>
        <p:spPr>
          <a:xfrm>
            <a:off x="-2017776" y="6002"/>
            <a:ext cx="16227552" cy="684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661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image" Target="../media/image32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38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37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83.pn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82.emf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83.pn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82.emf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oleObject" Target="../embeddings/oleObject2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6" Type="http://schemas.openxmlformats.org/officeDocument/2006/relationships/image" Target="../media/image87.jpe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86.jpeg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85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.jpg"/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2365" b="38880"/>
          <a:stretch/>
        </p:blipFill>
        <p:spPr>
          <a:xfrm>
            <a:off x="0" y="-865481"/>
            <a:ext cx="12192000" cy="51435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" y="790224"/>
            <a:ext cx="12202264" cy="601453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74000">
                <a:schemeClr val="bg1"/>
              </a:gs>
              <a:gs pos="42000">
                <a:schemeClr val="bg1">
                  <a:alpha val="7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2" y="6804759"/>
            <a:ext cx="12202263" cy="62648"/>
          </a:xfrm>
          <a:prstGeom prst="rect">
            <a:avLst/>
          </a:prstGeom>
          <a:solidFill>
            <a:srgbClr val="FF6C0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9" name="Picture 8" descr="us-ignite-logo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8846" y="6126574"/>
            <a:ext cx="1959237" cy="691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990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54" r:id="rId2"/>
    <p:sldLayoutId id="2147483650" r:id="rId3"/>
    <p:sldLayoutId id="2147483653" r:id="rId4"/>
    <p:sldLayoutId id="2147483678" r:id="rId5"/>
    <p:sldLayoutId id="2147483649" r:id="rId6"/>
    <p:sldLayoutId id="2147483712" r:id="rId7"/>
    <p:sldLayoutId id="2147483680" r:id="rId8"/>
    <p:sldLayoutId id="2147483707" r:id="rId9"/>
    <p:sldLayoutId id="2147483655" r:id="rId10"/>
    <p:sldLayoutId id="2147483715" r:id="rId11"/>
    <p:sldLayoutId id="2147483710" r:id="rId12"/>
    <p:sldLayoutId id="2147483711" r:id="rId13"/>
    <p:sldLayoutId id="2147483673" r:id="rId14"/>
    <p:sldLayoutId id="2147483685" r:id="rId15"/>
    <p:sldLayoutId id="2147483677" r:id="rId16"/>
    <p:sldLayoutId id="2147483906" r:id="rId17"/>
    <p:sldLayoutId id="2147483907" r:id="rId18"/>
  </p:sldLayoutIdLst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ackground.jpg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2365" b="38880"/>
          <a:stretch/>
        </p:blipFill>
        <p:spPr>
          <a:xfrm>
            <a:off x="0" y="-1153975"/>
            <a:ext cx="12192000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" y="790224"/>
            <a:ext cx="12202264" cy="601453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74000">
                <a:schemeClr val="bg1"/>
              </a:gs>
              <a:gs pos="42000">
                <a:schemeClr val="bg1">
                  <a:alpha val="7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" y="6804759"/>
            <a:ext cx="12202263" cy="62648"/>
          </a:xfrm>
          <a:prstGeom prst="rect">
            <a:avLst/>
          </a:prstGeom>
          <a:solidFill>
            <a:srgbClr val="7A7A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-2194560" y="-17339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/>
          </a:p>
        </p:txBody>
      </p:sp>
      <p:pic>
        <p:nvPicPr>
          <p:cNvPr id="8" name="Picture 7" descr="usi-appsummit-logo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6885" y="6190183"/>
            <a:ext cx="2724063" cy="483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14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9" r:id="rId2"/>
    <p:sldLayoutId id="2147483690" r:id="rId3"/>
    <p:sldLayoutId id="2147483672" r:id="rId4"/>
    <p:sldLayoutId id="2147483668" r:id="rId5"/>
    <p:sldLayoutId id="2147483713" r:id="rId6"/>
    <p:sldLayoutId id="2147483669" r:id="rId7"/>
    <p:sldLayoutId id="2147483683" r:id="rId8"/>
    <p:sldLayoutId id="2147483670" r:id="rId9"/>
    <p:sldLayoutId id="2147483674" r:id="rId10"/>
    <p:sldLayoutId id="2147483681" r:id="rId11"/>
    <p:sldLayoutId id="2147483708" r:id="rId12"/>
    <p:sldLayoutId id="2147483671" r:id="rId13"/>
    <p:sldLayoutId id="2147483716" r:id="rId14"/>
    <p:sldLayoutId id="2147483682" r:id="rId15"/>
  </p:sldLayoutIdLst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background.jpg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2365" b="38880"/>
          <a:stretch/>
        </p:blipFill>
        <p:spPr>
          <a:xfrm>
            <a:off x="0" y="-1153975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" y="790224"/>
            <a:ext cx="12202264" cy="601453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74000">
                <a:schemeClr val="bg1"/>
              </a:gs>
              <a:gs pos="42000">
                <a:schemeClr val="bg1">
                  <a:alpha val="7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" y="6804759"/>
            <a:ext cx="12202263" cy="62648"/>
          </a:xfrm>
          <a:prstGeom prst="rect">
            <a:avLst/>
          </a:prstGeom>
          <a:solidFill>
            <a:srgbClr val="17B5D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pic>
        <p:nvPicPr>
          <p:cNvPr id="9" name="Picture 8" descr="GCTC_logo1.png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2697" y="6182732"/>
            <a:ext cx="2822511" cy="539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34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692" r:id="rId3"/>
    <p:sldLayoutId id="2147483714" r:id="rId4"/>
    <p:sldLayoutId id="2147483705" r:id="rId5"/>
    <p:sldLayoutId id="2147483709" r:id="rId6"/>
    <p:sldLayoutId id="2147483693" r:id="rId7"/>
    <p:sldLayoutId id="2147483706" r:id="rId8"/>
  </p:sldLayoutIdLst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4" imgW="216" imgH="216" progId="TCLayout.ActiveDocument.1">
                  <p:embed/>
                </p:oleObj>
              </mc:Choice>
              <mc:Fallback>
                <p:oleObj name="think-cell Slide" r:id="rId1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3538" y="736620"/>
            <a:ext cx="11432977" cy="507831"/>
          </a:xfrm>
          <a:prstGeom prst="rect">
            <a:avLst/>
          </a:prstGeom>
        </p:spPr>
        <p:txBody>
          <a:bodyPr vert="horz" wrap="square" lIns="91416" tIns="45709" rIns="91416" bIns="45709" rtlCol="0" anchor="ctr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416" y="1934892"/>
            <a:ext cx="11432977" cy="1823576"/>
          </a:xfrm>
          <a:prstGeom prst="rect">
            <a:avLst/>
          </a:prstGeom>
        </p:spPr>
        <p:txBody>
          <a:bodyPr vert="horz" wrap="square" lIns="91416" tIns="45709" rIns="91416" bIns="45709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11523552" y="6525740"/>
            <a:ext cx="309652" cy="215421"/>
          </a:xfrm>
          <a:prstGeom prst="rect">
            <a:avLst/>
          </a:prstGeom>
          <a:noFill/>
        </p:spPr>
        <p:txBody>
          <a:bodyPr wrap="none" lIns="91416" tIns="45709" rIns="91416" bIns="45709" rtlCol="0">
            <a:spAutoFit/>
          </a:bodyPr>
          <a:lstStyle/>
          <a:p>
            <a:pPr defTabSz="914171"/>
            <a:fld id="{0A607DED-8B1E-49A6-A07A-F6DE68304C82}" type="slidenum">
              <a:rPr lang="en-US" sz="800">
                <a:solidFill>
                  <a:srgbClr val="FFFFFF">
                    <a:lumMod val="75000"/>
                  </a:srgbClr>
                </a:solidFill>
                <a:cs typeface="Arial" pitchFamily="34" charset="0"/>
              </a:rPr>
              <a:pPr defTabSz="914171"/>
              <a:t>‹#›</a:t>
            </a:fld>
            <a:endParaRPr lang="en-US" sz="800" dirty="0">
              <a:solidFill>
                <a:srgbClr val="FFFFFF">
                  <a:lumMod val="75000"/>
                </a:srgb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6307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</p:sldLayoutIdLst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  <p:txStyles>
    <p:titleStyle>
      <a:lvl1pPr algn="l" defTabSz="914171" rtl="0" eaLnBrk="1" latinLnBrk="0" hangingPunct="1">
        <a:lnSpc>
          <a:spcPct val="75000"/>
        </a:lnSpc>
        <a:spcBef>
          <a:spcPct val="0"/>
        </a:spcBef>
        <a:buNone/>
        <a:defRPr lang="en-US" sz="3600" kern="1200" baseline="0" dirty="0">
          <a:solidFill>
            <a:schemeClr val="tx1">
              <a:lumMod val="65000"/>
              <a:lumOff val="35000"/>
            </a:schemeClr>
          </a:solidFill>
          <a:latin typeface="Qualcomm Office Regular" pitchFamily="34" charset="0"/>
          <a:ea typeface="+mj-ea"/>
          <a:cs typeface="Arial" pitchFamily="34" charset="0"/>
        </a:defRPr>
      </a:lvl1pPr>
    </p:titleStyle>
    <p:bodyStyle>
      <a:lvl1pPr marL="342815" indent="-342815" algn="l" defTabSz="914171" rtl="0" eaLnBrk="1" latinLnBrk="0" hangingPunct="1">
        <a:lnSpc>
          <a:spcPct val="95000"/>
        </a:lnSpc>
        <a:spcBef>
          <a:spcPct val="20000"/>
        </a:spcBef>
        <a:buFontTx/>
        <a:buBlip>
          <a:blip r:embed="rId16"/>
        </a:buBlip>
        <a:defRPr lang="en-US" sz="2400" kern="1200" dirty="0" smtClean="0">
          <a:solidFill>
            <a:prstClr val="black">
              <a:lumMod val="75000"/>
              <a:lumOff val="25000"/>
            </a:prstClr>
          </a:solidFill>
          <a:latin typeface="Qualcomm Office Regular" pitchFamily="34" charset="0"/>
          <a:ea typeface="+mn-ea"/>
          <a:cs typeface="Arial" pitchFamily="34" charset="0"/>
        </a:defRPr>
      </a:lvl1pPr>
      <a:lvl2pPr marL="742766" indent="-342815" algn="l" defTabSz="914171" rtl="0" eaLnBrk="1" latinLnBrk="0" hangingPunct="1">
        <a:lnSpc>
          <a:spcPct val="95000"/>
        </a:lnSpc>
        <a:spcBef>
          <a:spcPct val="20000"/>
        </a:spcBef>
        <a:buClr>
          <a:schemeClr val="accent5"/>
        </a:buClr>
        <a:buFont typeface="Calibre Regular" pitchFamily="34" charset="0"/>
        <a:buChar char="−"/>
        <a:defRPr lang="en-US" sz="2000" kern="1200" dirty="0" smtClean="0">
          <a:solidFill>
            <a:prstClr val="black">
              <a:lumMod val="75000"/>
              <a:lumOff val="25000"/>
            </a:prstClr>
          </a:solidFill>
          <a:latin typeface="Qualcomm Office Regular" pitchFamily="34" charset="0"/>
          <a:ea typeface="+mn-ea"/>
          <a:cs typeface="Arial" pitchFamily="34" charset="0"/>
        </a:defRPr>
      </a:lvl2pPr>
      <a:lvl3pPr marL="1028444" indent="-342815" algn="l" defTabSz="914171" rtl="0" eaLnBrk="1" latinLnBrk="0" hangingPunct="1">
        <a:lnSpc>
          <a:spcPct val="95000"/>
        </a:lnSpc>
        <a:spcBef>
          <a:spcPct val="20000"/>
        </a:spcBef>
        <a:buClr>
          <a:schemeClr val="accent5"/>
        </a:buClr>
        <a:buFont typeface="Calibre Regular" pitchFamily="34" charset="0"/>
        <a:buChar char="−"/>
        <a:defRPr lang="en-US" sz="1900" kern="1200" dirty="0" smtClean="0">
          <a:solidFill>
            <a:prstClr val="black">
              <a:lumMod val="75000"/>
              <a:lumOff val="25000"/>
            </a:prstClr>
          </a:solidFill>
          <a:latin typeface="Qualcomm Office Regular" pitchFamily="34" charset="0"/>
          <a:ea typeface="+mn-ea"/>
          <a:cs typeface="Arial" pitchFamily="34" charset="0"/>
        </a:defRPr>
      </a:lvl3pPr>
      <a:lvl4pPr marL="1314122" indent="-342815" algn="l" defTabSz="914171" rtl="0" eaLnBrk="1" latinLnBrk="0" hangingPunct="1">
        <a:lnSpc>
          <a:spcPct val="95000"/>
        </a:lnSpc>
        <a:spcBef>
          <a:spcPct val="20000"/>
        </a:spcBef>
        <a:buClr>
          <a:schemeClr val="accent5"/>
        </a:buClr>
        <a:buFont typeface="Calibre Regular" pitchFamily="34" charset="0"/>
        <a:buChar char="−"/>
        <a:defRPr lang="en-US" sz="1600" kern="1200" dirty="0" smtClean="0">
          <a:solidFill>
            <a:prstClr val="black">
              <a:lumMod val="75000"/>
              <a:lumOff val="25000"/>
            </a:prstClr>
          </a:solidFill>
          <a:latin typeface="Qualcomm Office Regular" pitchFamily="34" charset="0"/>
          <a:ea typeface="+mn-ea"/>
          <a:cs typeface="Arial" pitchFamily="34" charset="0"/>
        </a:defRPr>
      </a:lvl4pPr>
      <a:lvl5pPr marL="1599800" indent="-342815" algn="l" defTabSz="914171" rtl="0" eaLnBrk="1" latinLnBrk="0" hangingPunct="1">
        <a:lnSpc>
          <a:spcPct val="95000"/>
        </a:lnSpc>
        <a:spcBef>
          <a:spcPct val="20000"/>
        </a:spcBef>
        <a:buClr>
          <a:schemeClr val="accent5"/>
        </a:buClr>
        <a:buFont typeface="Calibre Regular" pitchFamily="34" charset="0"/>
        <a:buChar char="−"/>
        <a:defRPr lang="en-US" sz="1500" kern="1200" baseline="0" dirty="0" smtClean="0">
          <a:solidFill>
            <a:prstClr val="black">
              <a:lumMod val="75000"/>
              <a:lumOff val="25000"/>
            </a:prstClr>
          </a:solidFill>
          <a:latin typeface="Qualcomm Regular" pitchFamily="34" charset="0"/>
          <a:ea typeface="+mn-ea"/>
          <a:cs typeface="Arial" pitchFamily="34" charset="0"/>
        </a:defRPr>
      </a:lvl5pPr>
      <a:lvl6pPr marL="2513975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6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4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4" imgW="216" imgH="216" progId="TCLayout.ActiveDocument.1">
                  <p:embed/>
                </p:oleObj>
              </mc:Choice>
              <mc:Fallback>
                <p:oleObj name="think-cell Slide" r:id="rId1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3538" y="736620"/>
            <a:ext cx="11432977" cy="507831"/>
          </a:xfrm>
          <a:prstGeom prst="rect">
            <a:avLst/>
          </a:prstGeom>
        </p:spPr>
        <p:txBody>
          <a:bodyPr vert="horz" wrap="square" lIns="91416" tIns="45709" rIns="91416" bIns="45709" rtlCol="0" anchor="ctr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416" y="1934892"/>
            <a:ext cx="11432977" cy="1823576"/>
          </a:xfrm>
          <a:prstGeom prst="rect">
            <a:avLst/>
          </a:prstGeom>
        </p:spPr>
        <p:txBody>
          <a:bodyPr vert="horz" wrap="square" lIns="91416" tIns="45709" rIns="91416" bIns="45709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11523552" y="6525740"/>
            <a:ext cx="309652" cy="215421"/>
          </a:xfrm>
          <a:prstGeom prst="rect">
            <a:avLst/>
          </a:prstGeom>
          <a:noFill/>
        </p:spPr>
        <p:txBody>
          <a:bodyPr wrap="none" lIns="91416" tIns="45709" rIns="91416" bIns="45709" rtlCol="0">
            <a:spAutoFit/>
          </a:bodyPr>
          <a:lstStyle/>
          <a:p>
            <a:pPr defTabSz="914171"/>
            <a:fld id="{0A607DED-8B1E-49A6-A07A-F6DE68304C82}" type="slidenum">
              <a:rPr lang="en-US" sz="800">
                <a:solidFill>
                  <a:srgbClr val="FFFFFF">
                    <a:lumMod val="75000"/>
                  </a:srgbClr>
                </a:solidFill>
                <a:cs typeface="Arial" pitchFamily="34" charset="0"/>
              </a:rPr>
              <a:pPr defTabSz="914171"/>
              <a:t>‹#›</a:t>
            </a:fld>
            <a:endParaRPr lang="en-US" sz="800" dirty="0">
              <a:solidFill>
                <a:srgbClr val="FFFFFF">
                  <a:lumMod val="75000"/>
                </a:srgb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4403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</p:sldLayoutIdLst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  <p:txStyles>
    <p:titleStyle>
      <a:lvl1pPr algn="l" defTabSz="914171" rtl="0" eaLnBrk="1" latinLnBrk="0" hangingPunct="1">
        <a:lnSpc>
          <a:spcPct val="75000"/>
        </a:lnSpc>
        <a:spcBef>
          <a:spcPct val="0"/>
        </a:spcBef>
        <a:buNone/>
        <a:defRPr lang="en-US" sz="3600" kern="1200" baseline="0" dirty="0">
          <a:solidFill>
            <a:schemeClr val="tx1">
              <a:lumMod val="65000"/>
              <a:lumOff val="35000"/>
            </a:schemeClr>
          </a:solidFill>
          <a:latin typeface="Qualcomm Office Regular" pitchFamily="34" charset="0"/>
          <a:ea typeface="+mj-ea"/>
          <a:cs typeface="Arial" pitchFamily="34" charset="0"/>
        </a:defRPr>
      </a:lvl1pPr>
    </p:titleStyle>
    <p:bodyStyle>
      <a:lvl1pPr marL="342815" indent="-342815" algn="l" defTabSz="914171" rtl="0" eaLnBrk="1" latinLnBrk="0" hangingPunct="1">
        <a:lnSpc>
          <a:spcPct val="95000"/>
        </a:lnSpc>
        <a:spcBef>
          <a:spcPct val="20000"/>
        </a:spcBef>
        <a:buFontTx/>
        <a:buBlip>
          <a:blip r:embed="rId16"/>
        </a:buBlip>
        <a:defRPr lang="en-US" sz="2400" kern="1200" dirty="0" smtClean="0">
          <a:solidFill>
            <a:prstClr val="black">
              <a:lumMod val="75000"/>
              <a:lumOff val="25000"/>
            </a:prstClr>
          </a:solidFill>
          <a:latin typeface="Qualcomm Office Regular" pitchFamily="34" charset="0"/>
          <a:ea typeface="+mn-ea"/>
          <a:cs typeface="Arial" pitchFamily="34" charset="0"/>
        </a:defRPr>
      </a:lvl1pPr>
      <a:lvl2pPr marL="742766" indent="-342815" algn="l" defTabSz="914171" rtl="0" eaLnBrk="1" latinLnBrk="0" hangingPunct="1">
        <a:lnSpc>
          <a:spcPct val="95000"/>
        </a:lnSpc>
        <a:spcBef>
          <a:spcPct val="20000"/>
        </a:spcBef>
        <a:buClr>
          <a:schemeClr val="accent5"/>
        </a:buClr>
        <a:buFont typeface="Calibre Regular" pitchFamily="34" charset="0"/>
        <a:buChar char="−"/>
        <a:defRPr lang="en-US" sz="2000" kern="1200" dirty="0" smtClean="0">
          <a:solidFill>
            <a:prstClr val="black">
              <a:lumMod val="75000"/>
              <a:lumOff val="25000"/>
            </a:prstClr>
          </a:solidFill>
          <a:latin typeface="Qualcomm Office Regular" pitchFamily="34" charset="0"/>
          <a:ea typeface="+mn-ea"/>
          <a:cs typeface="Arial" pitchFamily="34" charset="0"/>
        </a:defRPr>
      </a:lvl2pPr>
      <a:lvl3pPr marL="1028444" indent="-342815" algn="l" defTabSz="914171" rtl="0" eaLnBrk="1" latinLnBrk="0" hangingPunct="1">
        <a:lnSpc>
          <a:spcPct val="95000"/>
        </a:lnSpc>
        <a:spcBef>
          <a:spcPct val="20000"/>
        </a:spcBef>
        <a:buClr>
          <a:schemeClr val="accent5"/>
        </a:buClr>
        <a:buFont typeface="Calibre Regular" pitchFamily="34" charset="0"/>
        <a:buChar char="−"/>
        <a:defRPr lang="en-US" sz="1900" kern="1200" dirty="0" smtClean="0">
          <a:solidFill>
            <a:prstClr val="black">
              <a:lumMod val="75000"/>
              <a:lumOff val="25000"/>
            </a:prstClr>
          </a:solidFill>
          <a:latin typeface="Qualcomm Office Regular" pitchFamily="34" charset="0"/>
          <a:ea typeface="+mn-ea"/>
          <a:cs typeface="Arial" pitchFamily="34" charset="0"/>
        </a:defRPr>
      </a:lvl3pPr>
      <a:lvl4pPr marL="1314122" indent="-342815" algn="l" defTabSz="914171" rtl="0" eaLnBrk="1" latinLnBrk="0" hangingPunct="1">
        <a:lnSpc>
          <a:spcPct val="95000"/>
        </a:lnSpc>
        <a:spcBef>
          <a:spcPct val="20000"/>
        </a:spcBef>
        <a:buClr>
          <a:schemeClr val="accent5"/>
        </a:buClr>
        <a:buFont typeface="Calibre Regular" pitchFamily="34" charset="0"/>
        <a:buChar char="−"/>
        <a:defRPr lang="en-US" sz="1600" kern="1200" dirty="0" smtClean="0">
          <a:solidFill>
            <a:prstClr val="black">
              <a:lumMod val="75000"/>
              <a:lumOff val="25000"/>
            </a:prstClr>
          </a:solidFill>
          <a:latin typeface="Qualcomm Office Regular" pitchFamily="34" charset="0"/>
          <a:ea typeface="+mn-ea"/>
          <a:cs typeface="Arial" pitchFamily="34" charset="0"/>
        </a:defRPr>
      </a:lvl4pPr>
      <a:lvl5pPr marL="1599800" indent="-342815" algn="l" defTabSz="914171" rtl="0" eaLnBrk="1" latinLnBrk="0" hangingPunct="1">
        <a:lnSpc>
          <a:spcPct val="95000"/>
        </a:lnSpc>
        <a:spcBef>
          <a:spcPct val="20000"/>
        </a:spcBef>
        <a:buClr>
          <a:schemeClr val="accent5"/>
        </a:buClr>
        <a:buFont typeface="Calibre Regular" pitchFamily="34" charset="0"/>
        <a:buChar char="−"/>
        <a:defRPr lang="en-US" sz="1500" kern="1200" baseline="0" dirty="0" smtClean="0">
          <a:solidFill>
            <a:prstClr val="black">
              <a:lumMod val="75000"/>
              <a:lumOff val="25000"/>
            </a:prstClr>
          </a:solidFill>
          <a:latin typeface="Qualcomm Regular" pitchFamily="34" charset="0"/>
          <a:ea typeface="+mn-ea"/>
          <a:cs typeface="Arial" pitchFamily="34" charset="0"/>
        </a:defRPr>
      </a:lvl5pPr>
      <a:lvl6pPr marL="2513975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6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4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9141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9141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1" descr="PP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-304800" y="0"/>
            <a:ext cx="124968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8" descr="GENI-logo-final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11200" y="76201"/>
            <a:ext cx="1422400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5" name="Rectangle 9"/>
          <p:cNvSpPr>
            <a:spLocks noChangeArrowheads="1"/>
          </p:cNvSpPr>
          <p:nvPr/>
        </p:nvSpPr>
        <p:spPr bwMode="auto">
          <a:xfrm>
            <a:off x="647700" y="6613526"/>
            <a:ext cx="42672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srgbClr val="808080"/>
                </a:solidFill>
              </a:rPr>
              <a:t>Sponsored by the National Science Foundation</a:t>
            </a:r>
          </a:p>
        </p:txBody>
      </p:sp>
      <p:sp>
        <p:nvSpPr>
          <p:cNvPr id="4106" name="Rectangle 10"/>
          <p:cNvSpPr>
            <a:spLocks noChangeArrowheads="1"/>
          </p:cNvSpPr>
          <p:nvPr/>
        </p:nvSpPr>
        <p:spPr bwMode="auto">
          <a:xfrm>
            <a:off x="11277600" y="6613526"/>
            <a:ext cx="7112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BB04270-FAF9-D54F-BE52-D389708358DA}" type="slidenum">
              <a:rPr lang="en-US" sz="1000">
                <a:solidFill>
                  <a:srgbClr val="808080"/>
                </a:solidFill>
                <a:cs typeface="Kozuka Gothic Pro L" charset="0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>
              <a:solidFill>
                <a:srgbClr val="808080"/>
              </a:solidFill>
              <a:cs typeface="Kozuka Gothic Pro L" charset="0"/>
            </a:endParaRPr>
          </a:p>
        </p:txBody>
      </p:sp>
      <p:sp>
        <p:nvSpPr>
          <p:cNvPr id="1030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0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- line 1</a:t>
            </a:r>
            <a:br>
              <a:rPr lang="en-US"/>
            </a:br>
            <a:r>
              <a:rPr lang="en-US"/>
              <a:t>Click to edit Master title style- line 2</a:t>
            </a:r>
          </a:p>
        </p:txBody>
      </p:sp>
      <p:sp>
        <p:nvSpPr>
          <p:cNvPr id="1031" name="Rectangle 18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447800"/>
            <a:ext cx="112776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16" name="Rectangle 20"/>
          <p:cNvSpPr>
            <a:spLocks noChangeArrowheads="1"/>
          </p:cNvSpPr>
          <p:nvPr/>
        </p:nvSpPr>
        <p:spPr bwMode="auto">
          <a:xfrm>
            <a:off x="5029200" y="6613526"/>
            <a:ext cx="30988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</a:rPr>
              <a:t>GEC22 – March 23, 2015</a:t>
            </a:r>
          </a:p>
        </p:txBody>
      </p:sp>
      <p:pic>
        <p:nvPicPr>
          <p:cNvPr id="1033" name="Picture 22" descr="nsf2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357718" y="6573838"/>
            <a:ext cx="374649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20"/>
          <p:cNvSpPr>
            <a:spLocks noChangeArrowheads="1"/>
          </p:cNvSpPr>
          <p:nvPr userDrawn="1"/>
        </p:nvSpPr>
        <p:spPr bwMode="auto">
          <a:xfrm>
            <a:off x="9652000" y="6613526"/>
            <a:ext cx="2032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srgbClr val="808080"/>
                </a:solidFill>
                <a:cs typeface="Kozuka Gothic Pro L" charset="0"/>
              </a:rPr>
              <a:t>www.geni.net</a:t>
            </a:r>
          </a:p>
        </p:txBody>
      </p:sp>
    </p:spTree>
    <p:extLst>
      <p:ext uri="{BB962C8B-B14F-4D97-AF65-F5344CB8AC3E}">
        <p14:creationId xmlns:p14="http://schemas.microsoft.com/office/powerpoint/2010/main" val="3589019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  <p:sldLayoutId id="2147483905" r:id="rId12"/>
  </p:sldLayoutIdLst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  <p:txStyles>
    <p:titleStyle>
      <a:lvl1pPr algn="r" rtl="0" eaLnBrk="0" fontAlgn="base" hangingPunct="0">
        <a:spcBef>
          <a:spcPct val="0"/>
        </a:spcBef>
        <a:spcAft>
          <a:spcPct val="0"/>
        </a:spcAft>
        <a:defRPr sz="2800">
          <a:solidFill>
            <a:srgbClr val="333333"/>
          </a:solidFill>
          <a:latin typeface="+mj-lt"/>
          <a:ea typeface="ＭＳ Ｐゴシック" charset="-128"/>
          <a:cs typeface="ＭＳ Ｐゴシック" charset="-128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800">
          <a:solidFill>
            <a:srgbClr val="333333"/>
          </a:solidFill>
          <a:latin typeface="Arial" charset="0"/>
          <a:ea typeface="ＭＳ Ｐゴシック" charset="-128"/>
          <a:cs typeface="ＭＳ Ｐゴシック" charset="-128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800">
          <a:solidFill>
            <a:srgbClr val="333333"/>
          </a:solidFill>
          <a:latin typeface="Arial" charset="0"/>
          <a:ea typeface="ＭＳ Ｐゴシック" charset="-128"/>
          <a:cs typeface="ＭＳ Ｐゴシック" charset="-128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800">
          <a:solidFill>
            <a:srgbClr val="333333"/>
          </a:solidFill>
          <a:latin typeface="Arial" charset="0"/>
          <a:ea typeface="ＭＳ Ｐゴシック" charset="-128"/>
          <a:cs typeface="ＭＳ Ｐゴシック" charset="-128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800">
          <a:solidFill>
            <a:srgbClr val="333333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r" rtl="0" fontAlgn="base">
        <a:spcBef>
          <a:spcPct val="0"/>
        </a:spcBef>
        <a:spcAft>
          <a:spcPct val="0"/>
        </a:spcAft>
        <a:defRPr sz="2800">
          <a:solidFill>
            <a:srgbClr val="333333"/>
          </a:solidFill>
          <a:latin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2800">
          <a:solidFill>
            <a:srgbClr val="333333"/>
          </a:solidFill>
          <a:latin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2800">
          <a:solidFill>
            <a:srgbClr val="333333"/>
          </a:solidFill>
          <a:latin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2800">
          <a:solidFill>
            <a:srgbClr val="333333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rgbClr val="080808"/>
          </a:solidFill>
          <a:latin typeface="+mn-lt"/>
          <a:ea typeface="+mn-ea"/>
          <a:cs typeface="Kozuka Gothic Pro L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rgbClr val="080808"/>
          </a:solidFill>
          <a:latin typeface="+mn-lt"/>
          <a:ea typeface="+mn-ea"/>
          <a:cs typeface="Kozuka Gothic Pro 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rgbClr val="080808"/>
          </a:solidFill>
          <a:latin typeface="+mn-lt"/>
          <a:ea typeface="+mn-ea"/>
          <a:cs typeface="Kozuka Gothic Pro 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rgbClr val="080808"/>
          </a:solidFill>
          <a:latin typeface="+mn-lt"/>
          <a:ea typeface="+mn-ea"/>
          <a:cs typeface="Kozuka Gothic Pro 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rgbClr val="080808"/>
          </a:solidFill>
          <a:latin typeface="+mn-lt"/>
          <a:ea typeface="+mn-ea"/>
          <a:cs typeface="Kozuka Gothic Pro 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rgbClr val="080808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rgbClr val="080808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rgbClr val="080808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rgbClr val="080808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0AEC78-D00B-4978-9E45-1BDD288524B0}" type="datetimeFigureOut">
              <a:rPr lang="en-US" smtClean="0"/>
              <a:t>5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F3DBF4-136A-4EAF-8B01-6D902A791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470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</p:sldLayoutIdLst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wmf"/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9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8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8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8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8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jp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9.w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jpg"/><Relationship Id="rId3" Type="http://schemas.openxmlformats.org/officeDocument/2006/relationships/image" Target="../media/image91.jpg"/><Relationship Id="rId7" Type="http://schemas.openxmlformats.org/officeDocument/2006/relationships/image" Target="../media/image9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4.jpg"/><Relationship Id="rId5" Type="http://schemas.openxmlformats.org/officeDocument/2006/relationships/image" Target="../media/image93.png"/><Relationship Id="rId4" Type="http://schemas.openxmlformats.org/officeDocument/2006/relationships/image" Target="../media/image92.png"/><Relationship Id="rId9" Type="http://schemas.openxmlformats.org/officeDocument/2006/relationships/image" Target="../media/image9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99.png"/><Relationship Id="rId9" Type="http://schemas.openxmlformats.org/officeDocument/2006/relationships/image" Target="../media/image10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6.jpg"/><Relationship Id="rId5" Type="http://schemas.openxmlformats.org/officeDocument/2006/relationships/image" Target="../media/image92.png"/><Relationship Id="rId4" Type="http://schemas.openxmlformats.org/officeDocument/2006/relationships/image" Target="../media/image10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5.jpeg"/><Relationship Id="rId7" Type="http://schemas.openxmlformats.org/officeDocument/2006/relationships/image" Target="../media/image93.png"/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8.png"/><Relationship Id="rId5" Type="http://schemas.openxmlformats.org/officeDocument/2006/relationships/image" Target="../media/image107.png"/><Relationship Id="rId4" Type="http://schemas.openxmlformats.org/officeDocument/2006/relationships/image" Target="../media/image10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6298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2860" y="5593536"/>
            <a:ext cx="4395466" cy="1140096"/>
          </a:xfrm>
          <a:prstGeom prst="rect">
            <a:avLst/>
          </a:prstGeom>
          <a:noFill/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456358" y="414340"/>
            <a:ext cx="10016429" cy="1931541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kern="1200" baseline="0">
                <a:solidFill>
                  <a:srgbClr val="262626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40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mart Urban Infrastructures</a:t>
            </a:r>
            <a:endParaRPr lang="en-US" sz="4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456358" y="5583383"/>
            <a:ext cx="6138406" cy="615951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Glenn.Ricart@us-ignite.org</a:t>
            </a: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456414" y="6199334"/>
            <a:ext cx="6138340" cy="615951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May 11, 2017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  <a14:imgEffect>
                      <a14:brightnessContrast bright="2000" contrast="-2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059817" y="427533"/>
            <a:ext cx="1886676" cy="1349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8254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629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87439"/>
            <a:ext cx="2540004" cy="670561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-17328" y="-94511"/>
            <a:ext cx="12489744" cy="6962987"/>
          </a:xfrm>
          <a:prstGeom prst="rect">
            <a:avLst/>
          </a:prstGeom>
          <a:solidFill>
            <a:schemeClr val="tx1">
              <a:alpha val="3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97915"/>
            <a:ext cx="2540004" cy="670561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5817996" y="557144"/>
            <a:ext cx="63354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Smart Applications Infrastructure</a:t>
            </a:r>
          </a:p>
          <a:p>
            <a:r>
              <a:rPr lang="en-US" sz="2400" dirty="0">
                <a:solidFill>
                  <a:schemeClr val="bg1"/>
                </a:solidFill>
              </a:rPr>
              <a:t>	Foundation is a community-wide network</a:t>
            </a:r>
          </a:p>
          <a:p>
            <a:r>
              <a:rPr lang="en-US" sz="2400" dirty="0">
                <a:solidFill>
                  <a:schemeClr val="bg1"/>
                </a:solidFill>
              </a:rPr>
              <a:t>		Low-latency locally</a:t>
            </a:r>
          </a:p>
          <a:p>
            <a:r>
              <a:rPr lang="en-US" sz="2400" dirty="0">
                <a:solidFill>
                  <a:schemeClr val="bg1"/>
                </a:solidFill>
              </a:rPr>
              <a:t>		High-bandwidth locally</a:t>
            </a:r>
          </a:p>
          <a:p>
            <a:r>
              <a:rPr lang="en-US" sz="2400" dirty="0">
                <a:solidFill>
                  <a:schemeClr val="bg1"/>
                </a:solidFill>
              </a:rPr>
              <a:t>		Software-defined locally</a:t>
            </a:r>
          </a:p>
          <a:p>
            <a:r>
              <a:rPr lang="en-US" sz="2400" dirty="0">
                <a:solidFill>
                  <a:schemeClr val="bg1"/>
                </a:solidFill>
              </a:rPr>
              <a:t>		Leverages </a:t>
            </a:r>
            <a:r>
              <a:rPr lang="en-US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cality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134" y="571993"/>
            <a:ext cx="5068520" cy="1771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3139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1989143" y="245819"/>
            <a:ext cx="9495026" cy="6102803"/>
            <a:chOff x="2322835" y="335476"/>
            <a:chExt cx="9495026" cy="6102803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81" r="11836" b="7402"/>
            <a:stretch/>
          </p:blipFill>
          <p:spPr>
            <a:xfrm rot="16200000">
              <a:off x="4018946" y="-1360635"/>
              <a:ext cx="6102803" cy="9495026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3930620" y="4801684"/>
              <a:ext cx="108341" cy="1950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3635931" y="4624005"/>
            <a:ext cx="589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418176" y="6129441"/>
            <a:ext cx="12177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rner-directed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554316" y="6129441"/>
            <a:ext cx="788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afety or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dical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obo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447770" y="6129440"/>
            <a:ext cx="873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al-time health monitoring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62241" y="6129439"/>
            <a:ext cx="873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al-time health monitoring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529004" y="6244857"/>
            <a:ext cx="24373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stop intersection managemen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399676" y="5382664"/>
            <a:ext cx="6987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456214" y="2844223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reless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-en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284662" y="6397257"/>
            <a:ext cx="2564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owd-sourced incident management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566790" y="3883018"/>
            <a:ext cx="1238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streetligh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128694" y="2844222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ber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-en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789205" y="1072481"/>
            <a:ext cx="1238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ty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 Cloud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747661" y="1874222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mable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776597" y="2521056"/>
            <a:ext cx="1238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provider’s own distant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035109" y="2625363"/>
            <a:ext cx="1238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provider’s own distant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06584" y="1535286"/>
            <a:ext cx="31603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anced networking technologies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 smart communities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77" y="337164"/>
            <a:ext cx="3705269" cy="978191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0" y="6627168"/>
            <a:ext cx="12381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 3/11/2017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849343" y="487706"/>
            <a:ext cx="31603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own Square</a:t>
            </a:r>
          </a:p>
        </p:txBody>
      </p:sp>
    </p:spTree>
    <p:extLst>
      <p:ext uri="{BB962C8B-B14F-4D97-AF65-F5344CB8AC3E}">
        <p14:creationId xmlns:p14="http://schemas.microsoft.com/office/powerpoint/2010/main" val="6517243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1989143" y="245819"/>
            <a:ext cx="9495026" cy="6102803"/>
            <a:chOff x="2322835" y="335476"/>
            <a:chExt cx="9495026" cy="6102803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81" r="11836" b="7402"/>
            <a:stretch/>
          </p:blipFill>
          <p:spPr>
            <a:xfrm rot="16200000">
              <a:off x="4018946" y="-1360635"/>
              <a:ext cx="6102803" cy="9495026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3930620" y="4801684"/>
              <a:ext cx="108341" cy="1950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3635931" y="4624005"/>
            <a:ext cx="589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418176" y="6129441"/>
            <a:ext cx="12177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rner-directed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554316" y="6129441"/>
            <a:ext cx="788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afety or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dical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obo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447770" y="6129440"/>
            <a:ext cx="873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al-time health monitoring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62241" y="6129439"/>
            <a:ext cx="873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al-time health monitoring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529004" y="6244857"/>
            <a:ext cx="24373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stop intersection managemen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399676" y="5382664"/>
            <a:ext cx="6987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456214" y="2844223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reless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-en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284662" y="6397257"/>
            <a:ext cx="2564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owd-sourced incident management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566790" y="3883018"/>
            <a:ext cx="1238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streetligh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128694" y="2844222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ber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-en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789205" y="1072481"/>
            <a:ext cx="1238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ty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 Cloud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747661" y="1874222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mable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776597" y="2521056"/>
            <a:ext cx="1238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provider’s own distant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035109" y="2625363"/>
            <a:ext cx="1238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provider’s own distant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06584" y="1535286"/>
            <a:ext cx="31603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anced networking technologies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 smart communities</a:t>
            </a:r>
          </a:p>
        </p:txBody>
      </p:sp>
      <p:sp>
        <p:nvSpPr>
          <p:cNvPr id="2" name="Oval 1"/>
          <p:cNvSpPr/>
          <p:nvPr/>
        </p:nvSpPr>
        <p:spPr>
          <a:xfrm>
            <a:off x="9621428" y="5621499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6979876" y="4183200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4595652" y="5232748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3684394" y="5366933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3243555" y="4588316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2748029" y="5327135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7556616" y="5060614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833699" y="4160017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5562241" y="5254642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048195" y="4974930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6683075" y="4640373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6522684" y="5027877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7446177" y="5448963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7087687" y="5787684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10781032" y="4247360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7705769" y="4721746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7317580" y="4396146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9801813" y="4854837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10392843" y="4509442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562373" y="2521056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095415" y="2632884"/>
            <a:ext cx="923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ors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77" y="337164"/>
            <a:ext cx="3705269" cy="978191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>
            <a:off x="0" y="6627168"/>
            <a:ext cx="12381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 3/11/2017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49343" y="487706"/>
            <a:ext cx="31603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own Square</a:t>
            </a:r>
          </a:p>
        </p:txBody>
      </p:sp>
    </p:spTree>
    <p:extLst>
      <p:ext uri="{BB962C8B-B14F-4D97-AF65-F5344CB8AC3E}">
        <p14:creationId xmlns:p14="http://schemas.microsoft.com/office/powerpoint/2010/main" val="32931526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1989143" y="245819"/>
            <a:ext cx="9495026" cy="6102803"/>
            <a:chOff x="2322835" y="335476"/>
            <a:chExt cx="9495026" cy="6102803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81" r="11836" b="7402"/>
            <a:stretch/>
          </p:blipFill>
          <p:spPr>
            <a:xfrm rot="16200000">
              <a:off x="4018946" y="-1360635"/>
              <a:ext cx="6102803" cy="9495026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3930620" y="4801684"/>
              <a:ext cx="108341" cy="1950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3635931" y="4624005"/>
            <a:ext cx="589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418176" y="6129441"/>
            <a:ext cx="12177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rner-directed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554316" y="6129441"/>
            <a:ext cx="788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afety or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dical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obo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447770" y="6129440"/>
            <a:ext cx="873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al-time health monitoring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62241" y="6129439"/>
            <a:ext cx="873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al-time health monitoring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529004" y="6244857"/>
            <a:ext cx="24373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stop intersection managemen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399676" y="5382664"/>
            <a:ext cx="6987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456214" y="2844223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reless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-en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284662" y="6397257"/>
            <a:ext cx="2564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owd-sourced incident management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566790" y="3883018"/>
            <a:ext cx="1238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streetligh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128694" y="2844222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ber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-en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789205" y="1072481"/>
            <a:ext cx="1238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ty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 Cloud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747661" y="1874222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mable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776597" y="2521056"/>
            <a:ext cx="1238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provider’s own distant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035109" y="2625363"/>
            <a:ext cx="1238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provider’s own distant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06584" y="1535286"/>
            <a:ext cx="31603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anced networking technologies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 smart communities</a:t>
            </a:r>
          </a:p>
        </p:txBody>
      </p:sp>
      <p:sp>
        <p:nvSpPr>
          <p:cNvPr id="2" name="Oval 1"/>
          <p:cNvSpPr/>
          <p:nvPr/>
        </p:nvSpPr>
        <p:spPr>
          <a:xfrm>
            <a:off x="9621428" y="5621499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6979876" y="4183200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4595652" y="5232748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3684394" y="5366933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3243555" y="4588316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2748029" y="5327135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7556616" y="5060614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833699" y="4160017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5562241" y="5254642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048195" y="4974930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6683075" y="4640373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6522684" y="5027877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7446177" y="5448963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7087687" y="5787684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10781032" y="4247360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7705769" y="4721746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7317580" y="4396146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9801813" y="4854837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10392843" y="4509442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562373" y="2521056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095415" y="2632884"/>
            <a:ext cx="25889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ed real-time big-data and AI analytics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77" y="337164"/>
            <a:ext cx="3705269" cy="978191"/>
          </a:xfrm>
          <a:prstGeom prst="rect">
            <a:avLst/>
          </a:prstGeom>
        </p:spPr>
      </p:pic>
      <p:sp>
        <p:nvSpPr>
          <p:cNvPr id="3" name="Up Arrow 2"/>
          <p:cNvSpPr/>
          <p:nvPr/>
        </p:nvSpPr>
        <p:spPr>
          <a:xfrm rot="19474579">
            <a:off x="8686002" y="1621840"/>
            <a:ext cx="650738" cy="3208104"/>
          </a:xfrm>
          <a:prstGeom prst="upArrow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Up Arrow 47"/>
          <p:cNvSpPr/>
          <p:nvPr/>
        </p:nvSpPr>
        <p:spPr>
          <a:xfrm>
            <a:off x="6808596" y="1802110"/>
            <a:ext cx="650738" cy="2236236"/>
          </a:xfrm>
          <a:prstGeom prst="upArrow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Up Arrow 48"/>
          <p:cNvSpPr/>
          <p:nvPr/>
        </p:nvSpPr>
        <p:spPr>
          <a:xfrm rot="2352424">
            <a:off x="4832389" y="1229122"/>
            <a:ext cx="650738" cy="3553530"/>
          </a:xfrm>
          <a:prstGeom prst="upArrow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Up Arrow 49"/>
          <p:cNvSpPr/>
          <p:nvPr/>
        </p:nvSpPr>
        <p:spPr>
          <a:xfrm rot="5400000">
            <a:off x="644095" y="3224165"/>
            <a:ext cx="369599" cy="533043"/>
          </a:xfrm>
          <a:prstGeom prst="upArrow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0" y="6627168"/>
            <a:ext cx="12381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 3/11/2017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849343" y="487706"/>
            <a:ext cx="31603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own Square</a:t>
            </a:r>
          </a:p>
        </p:txBody>
      </p:sp>
    </p:spTree>
    <p:extLst>
      <p:ext uri="{BB962C8B-B14F-4D97-AF65-F5344CB8AC3E}">
        <p14:creationId xmlns:p14="http://schemas.microsoft.com/office/powerpoint/2010/main" val="29604320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1989143" y="245819"/>
            <a:ext cx="9495026" cy="6102803"/>
            <a:chOff x="2322835" y="335476"/>
            <a:chExt cx="9495026" cy="6102803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81" r="11836" b="7402"/>
            <a:stretch/>
          </p:blipFill>
          <p:spPr>
            <a:xfrm rot="16200000">
              <a:off x="4018946" y="-1360635"/>
              <a:ext cx="6102803" cy="9495026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3930620" y="4801684"/>
              <a:ext cx="108341" cy="1950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3635931" y="4624005"/>
            <a:ext cx="589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418176" y="6129441"/>
            <a:ext cx="12177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rner-directed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554316" y="6129441"/>
            <a:ext cx="788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afety or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dical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obo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447770" y="6129440"/>
            <a:ext cx="873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al-time health monitoring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62241" y="6129439"/>
            <a:ext cx="873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al-time health monitoring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529004" y="6244857"/>
            <a:ext cx="24373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stop intersection managemen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399676" y="5382664"/>
            <a:ext cx="6987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456214" y="2844223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reless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-en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284662" y="6397257"/>
            <a:ext cx="2564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owd-sourced incident management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566790" y="3883018"/>
            <a:ext cx="1238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streetligh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128694" y="2844222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ber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-en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789205" y="1072481"/>
            <a:ext cx="1238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ty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 Cloud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747661" y="1874222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mable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776597" y="2521056"/>
            <a:ext cx="1238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provider’s own distant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035109" y="2625363"/>
            <a:ext cx="1238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provider’s own distant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06584" y="1535286"/>
            <a:ext cx="31603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anced networking technologies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 smart communities</a:t>
            </a:r>
          </a:p>
        </p:txBody>
      </p:sp>
      <p:sp>
        <p:nvSpPr>
          <p:cNvPr id="2" name="Oval 1"/>
          <p:cNvSpPr/>
          <p:nvPr/>
        </p:nvSpPr>
        <p:spPr>
          <a:xfrm>
            <a:off x="9621428" y="5621499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6979876" y="4183200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4595652" y="5232748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3684394" y="5366933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3243555" y="4588316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2748029" y="5327135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7556616" y="5060614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833699" y="4160017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5562241" y="5254642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048195" y="4974930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6683075" y="4640373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6522684" y="5027877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7446177" y="5448963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7087687" y="5787684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10781032" y="4247360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7705769" y="4721746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7317580" y="4396146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9801813" y="4854837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10392843" y="4509442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562373" y="2521056"/>
            <a:ext cx="533042" cy="533042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095415" y="2632884"/>
            <a:ext cx="25889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ed real-time big-data and AI analytic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ion needed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77" y="337164"/>
            <a:ext cx="3705269" cy="978191"/>
          </a:xfrm>
          <a:prstGeom prst="rect">
            <a:avLst/>
          </a:prstGeom>
        </p:spPr>
      </p:pic>
      <p:sp>
        <p:nvSpPr>
          <p:cNvPr id="3" name="Up Arrow 2"/>
          <p:cNvSpPr/>
          <p:nvPr/>
        </p:nvSpPr>
        <p:spPr>
          <a:xfrm rot="19474579">
            <a:off x="8686002" y="1621840"/>
            <a:ext cx="650738" cy="3208104"/>
          </a:xfrm>
          <a:prstGeom prst="upArrow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Up Arrow 47"/>
          <p:cNvSpPr/>
          <p:nvPr/>
        </p:nvSpPr>
        <p:spPr>
          <a:xfrm>
            <a:off x="6808596" y="1802110"/>
            <a:ext cx="650738" cy="2236236"/>
          </a:xfrm>
          <a:prstGeom prst="upArrow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Up Arrow 48"/>
          <p:cNvSpPr/>
          <p:nvPr/>
        </p:nvSpPr>
        <p:spPr>
          <a:xfrm rot="2352424">
            <a:off x="4832389" y="1229122"/>
            <a:ext cx="650738" cy="3553530"/>
          </a:xfrm>
          <a:prstGeom prst="upArrow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Up Arrow 49"/>
          <p:cNvSpPr/>
          <p:nvPr/>
        </p:nvSpPr>
        <p:spPr>
          <a:xfrm rot="5400000">
            <a:off x="644095" y="3224165"/>
            <a:ext cx="369599" cy="533043"/>
          </a:xfrm>
          <a:prstGeom prst="upArrow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Up Arrow 50"/>
          <p:cNvSpPr/>
          <p:nvPr/>
        </p:nvSpPr>
        <p:spPr>
          <a:xfrm rot="5400000">
            <a:off x="644095" y="3919020"/>
            <a:ext cx="369599" cy="533043"/>
          </a:xfrm>
          <a:prstGeom prst="upArrow">
            <a:avLst/>
          </a:prstGeom>
          <a:solidFill>
            <a:schemeClr val="accent2">
              <a:alpha val="30000"/>
            </a:schemeClr>
          </a:solidFill>
          <a:ln w="444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9166668" y="1196214"/>
            <a:ext cx="572038" cy="3392102"/>
            <a:chOff x="10705951" y="18599"/>
            <a:chExt cx="572038" cy="3392102"/>
          </a:xfrm>
        </p:grpSpPr>
        <p:sp>
          <p:nvSpPr>
            <p:cNvPr id="52" name="Up Arrow 51"/>
            <p:cNvSpPr/>
            <p:nvPr/>
          </p:nvSpPr>
          <p:spPr>
            <a:xfrm rot="8458229">
              <a:off x="10710528" y="18599"/>
              <a:ext cx="567461" cy="3392102"/>
            </a:xfrm>
            <a:prstGeom prst="upArrow">
              <a:avLst/>
            </a:prstGeom>
            <a:solidFill>
              <a:schemeClr val="accent2">
                <a:alpha val="65000"/>
              </a:schemeClr>
            </a:solidFill>
            <a:ln w="444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 rot="3044876">
              <a:off x="9394402" y="1394948"/>
              <a:ext cx="29924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other victim behind the car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 rot="16200000">
            <a:off x="6297018" y="2790176"/>
            <a:ext cx="2665762" cy="567461"/>
            <a:chOff x="185124" y="5507973"/>
            <a:chExt cx="2054483" cy="567461"/>
          </a:xfrm>
        </p:grpSpPr>
        <p:sp>
          <p:nvSpPr>
            <p:cNvPr id="54" name="Up Arrow 53"/>
            <p:cNvSpPr/>
            <p:nvPr/>
          </p:nvSpPr>
          <p:spPr>
            <a:xfrm rot="16200000">
              <a:off x="928635" y="4764462"/>
              <a:ext cx="567461" cy="2054483"/>
            </a:xfrm>
            <a:prstGeom prst="upArrow">
              <a:avLst/>
            </a:prstGeom>
            <a:solidFill>
              <a:schemeClr val="accent2">
                <a:alpha val="65000"/>
              </a:schemeClr>
            </a:solidFill>
            <a:ln w="444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63820" y="5598503"/>
              <a:ext cx="17590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low by 3 mph</a:t>
              </a:r>
            </a:p>
          </p:txBody>
        </p:sp>
      </p:grpSp>
      <p:grpSp>
        <p:nvGrpSpPr>
          <p:cNvPr id="56" name="Group 55"/>
          <p:cNvGrpSpPr/>
          <p:nvPr/>
        </p:nvGrpSpPr>
        <p:grpSpPr>
          <a:xfrm rot="17925006">
            <a:off x="4011497" y="3178839"/>
            <a:ext cx="3615889" cy="567461"/>
            <a:chOff x="185124" y="5507973"/>
            <a:chExt cx="2054483" cy="567461"/>
          </a:xfrm>
        </p:grpSpPr>
        <p:sp>
          <p:nvSpPr>
            <p:cNvPr id="57" name="Up Arrow 56"/>
            <p:cNvSpPr/>
            <p:nvPr/>
          </p:nvSpPr>
          <p:spPr>
            <a:xfrm rot="16200000">
              <a:off x="928635" y="4764462"/>
              <a:ext cx="567461" cy="2054483"/>
            </a:xfrm>
            <a:prstGeom prst="upArrow">
              <a:avLst/>
            </a:prstGeom>
            <a:solidFill>
              <a:schemeClr val="accent2">
                <a:alpha val="65000"/>
              </a:schemeClr>
            </a:solidFill>
            <a:ln w="444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87314" y="5593337"/>
              <a:ext cx="17590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p exercising!</a:t>
              </a:r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0" y="6627168"/>
            <a:ext cx="12381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 3/11/2017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5849343" y="487706"/>
            <a:ext cx="31603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own Square</a:t>
            </a:r>
          </a:p>
        </p:txBody>
      </p:sp>
    </p:spTree>
    <p:extLst>
      <p:ext uri="{BB962C8B-B14F-4D97-AF65-F5344CB8AC3E}">
        <p14:creationId xmlns:p14="http://schemas.microsoft.com/office/powerpoint/2010/main" val="4002941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1989143" y="245819"/>
            <a:ext cx="9495026" cy="6102803"/>
            <a:chOff x="2322835" y="335476"/>
            <a:chExt cx="9495026" cy="6102803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81" r="11836" b="7402"/>
            <a:stretch/>
          </p:blipFill>
          <p:spPr>
            <a:xfrm rot="16200000">
              <a:off x="4018946" y="-1360635"/>
              <a:ext cx="6102803" cy="9495026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3930620" y="4801684"/>
              <a:ext cx="108341" cy="1950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3635931" y="4624005"/>
            <a:ext cx="589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418176" y="6129441"/>
            <a:ext cx="12177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rner-directed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554316" y="6129441"/>
            <a:ext cx="788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afety or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dical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obo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447770" y="6129440"/>
            <a:ext cx="873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al-time health monitoring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62241" y="6129439"/>
            <a:ext cx="873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al-time health monitoring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529004" y="6244857"/>
            <a:ext cx="24373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stop intersection managemen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399676" y="5382664"/>
            <a:ext cx="6987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456214" y="2844223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reless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-en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284662" y="6397257"/>
            <a:ext cx="2564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owd-sourced incident management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566790" y="3883018"/>
            <a:ext cx="1238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streetligh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128694" y="2844222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ber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-en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789205" y="1072481"/>
            <a:ext cx="1238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ty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 Cloud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849343" y="487706"/>
            <a:ext cx="31603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own Squar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747661" y="1874222"/>
            <a:ext cx="1238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mable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776597" y="2521056"/>
            <a:ext cx="1238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provider’s own distant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035109" y="2625363"/>
            <a:ext cx="1238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provider’s own distant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06584" y="1535286"/>
            <a:ext cx="31603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anced networking technologies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 smart communities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77" y="337164"/>
            <a:ext cx="3705269" cy="978191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0" y="6627168"/>
            <a:ext cx="12381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 3/11/2017</a:t>
            </a:r>
          </a:p>
        </p:txBody>
      </p:sp>
    </p:spTree>
    <p:extLst>
      <p:ext uri="{BB962C8B-B14F-4D97-AF65-F5344CB8AC3E}">
        <p14:creationId xmlns:p14="http://schemas.microsoft.com/office/powerpoint/2010/main" val="8308990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129071" y="3580296"/>
            <a:ext cx="3251437" cy="3071910"/>
            <a:chOff x="129072" y="2944010"/>
            <a:chExt cx="3924908" cy="3708195"/>
          </a:xfrm>
        </p:grpSpPr>
        <p:grpSp>
          <p:nvGrpSpPr>
            <p:cNvPr id="136" name="Group 135"/>
            <p:cNvGrpSpPr/>
            <p:nvPr/>
          </p:nvGrpSpPr>
          <p:grpSpPr>
            <a:xfrm>
              <a:off x="129072" y="2944010"/>
              <a:ext cx="3924908" cy="3708195"/>
              <a:chOff x="3519488" y="1381125"/>
              <a:chExt cx="5175250" cy="48895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7" name="Freeform 6"/>
              <p:cNvSpPr>
                <a:spLocks/>
              </p:cNvSpPr>
              <p:nvPr/>
            </p:nvSpPr>
            <p:spPr bwMode="auto">
              <a:xfrm>
                <a:off x="3519488" y="1816100"/>
                <a:ext cx="2111375" cy="3232150"/>
              </a:xfrm>
              <a:custGeom>
                <a:avLst/>
                <a:gdLst/>
                <a:ahLst/>
                <a:cxnLst>
                  <a:cxn ang="0">
                    <a:pos x="1108" y="15"/>
                  </a:cxn>
                  <a:cxn ang="0">
                    <a:pos x="1196" y="85"/>
                  </a:cxn>
                  <a:cxn ang="0">
                    <a:pos x="1196" y="115"/>
                  </a:cxn>
                  <a:cxn ang="0">
                    <a:pos x="1281" y="107"/>
                  </a:cxn>
                  <a:cxn ang="0">
                    <a:pos x="1245" y="1688"/>
                  </a:cxn>
                  <a:cxn ang="0">
                    <a:pos x="1094" y="1713"/>
                  </a:cxn>
                  <a:cxn ang="0">
                    <a:pos x="999" y="1767"/>
                  </a:cxn>
                  <a:cxn ang="0">
                    <a:pos x="954" y="1800"/>
                  </a:cxn>
                  <a:cxn ang="0">
                    <a:pos x="897" y="1878"/>
                  </a:cxn>
                  <a:cxn ang="0">
                    <a:pos x="849" y="1883"/>
                  </a:cxn>
                  <a:cxn ang="0">
                    <a:pos x="795" y="1878"/>
                  </a:cxn>
                  <a:cxn ang="0">
                    <a:pos x="682" y="1896"/>
                  </a:cxn>
                  <a:cxn ang="0">
                    <a:pos x="616" y="1937"/>
                  </a:cxn>
                  <a:cxn ang="0">
                    <a:pos x="569" y="1961"/>
                  </a:cxn>
                  <a:cxn ang="0">
                    <a:pos x="505" y="2020"/>
                  </a:cxn>
                  <a:cxn ang="0">
                    <a:pos x="401" y="2032"/>
                  </a:cxn>
                  <a:cxn ang="0">
                    <a:pos x="333" y="1999"/>
                  </a:cxn>
                  <a:cxn ang="0">
                    <a:pos x="282" y="1965"/>
                  </a:cxn>
                  <a:cxn ang="0">
                    <a:pos x="294" y="1912"/>
                  </a:cxn>
                  <a:cxn ang="0">
                    <a:pos x="298" y="1834"/>
                  </a:cxn>
                  <a:cxn ang="0">
                    <a:pos x="298" y="1721"/>
                  </a:cxn>
                  <a:cxn ang="0">
                    <a:pos x="222" y="1566"/>
                  </a:cxn>
                  <a:cxn ang="0">
                    <a:pos x="178" y="1475"/>
                  </a:cxn>
                  <a:cxn ang="0">
                    <a:pos x="128" y="1384"/>
                  </a:cxn>
                  <a:cxn ang="0">
                    <a:pos x="26" y="1264"/>
                  </a:cxn>
                  <a:cxn ang="0">
                    <a:pos x="1" y="1207"/>
                  </a:cxn>
                  <a:cxn ang="0">
                    <a:pos x="50" y="1253"/>
                  </a:cxn>
                  <a:cxn ang="0">
                    <a:pos x="76" y="1273"/>
                  </a:cxn>
                  <a:cxn ang="0">
                    <a:pos x="43" y="1210"/>
                  </a:cxn>
                  <a:cxn ang="0">
                    <a:pos x="109" y="1260"/>
                  </a:cxn>
                  <a:cxn ang="0">
                    <a:pos x="73" y="1170"/>
                  </a:cxn>
                  <a:cxn ang="0">
                    <a:pos x="12" y="1081"/>
                  </a:cxn>
                  <a:cxn ang="0">
                    <a:pos x="32" y="984"/>
                  </a:cxn>
                  <a:cxn ang="0">
                    <a:pos x="35" y="883"/>
                  </a:cxn>
                  <a:cxn ang="0">
                    <a:pos x="57" y="912"/>
                  </a:cxn>
                  <a:cxn ang="0">
                    <a:pos x="94" y="857"/>
                  </a:cxn>
                  <a:cxn ang="0">
                    <a:pos x="163" y="791"/>
                  </a:cxn>
                  <a:cxn ang="0">
                    <a:pos x="246" y="726"/>
                  </a:cxn>
                  <a:cxn ang="0">
                    <a:pos x="317" y="703"/>
                  </a:cxn>
                  <a:cxn ang="0">
                    <a:pos x="396" y="671"/>
                  </a:cxn>
                  <a:cxn ang="0">
                    <a:pos x="475" y="631"/>
                  </a:cxn>
                  <a:cxn ang="0">
                    <a:pos x="586" y="589"/>
                  </a:cxn>
                  <a:cxn ang="0">
                    <a:pos x="657" y="484"/>
                  </a:cxn>
                  <a:cxn ang="0">
                    <a:pos x="694" y="420"/>
                  </a:cxn>
                  <a:cxn ang="0">
                    <a:pos x="677" y="368"/>
                  </a:cxn>
                  <a:cxn ang="0">
                    <a:pos x="725" y="304"/>
                  </a:cxn>
                  <a:cxn ang="0">
                    <a:pos x="766" y="310"/>
                  </a:cxn>
                  <a:cxn ang="0">
                    <a:pos x="807" y="337"/>
                  </a:cxn>
                  <a:cxn ang="0">
                    <a:pos x="816" y="311"/>
                  </a:cxn>
                  <a:cxn ang="0">
                    <a:pos x="773" y="260"/>
                  </a:cxn>
                  <a:cxn ang="0">
                    <a:pos x="791" y="252"/>
                  </a:cxn>
                  <a:cxn ang="0">
                    <a:pos x="863" y="250"/>
                  </a:cxn>
                  <a:cxn ang="0">
                    <a:pos x="867" y="196"/>
                  </a:cxn>
                  <a:cxn ang="0">
                    <a:pos x="884" y="156"/>
                  </a:cxn>
                  <a:cxn ang="0">
                    <a:pos x="937" y="128"/>
                  </a:cxn>
                  <a:cxn ang="0">
                    <a:pos x="926" y="90"/>
                  </a:cxn>
                  <a:cxn ang="0">
                    <a:pos x="988" y="73"/>
                  </a:cxn>
                  <a:cxn ang="0">
                    <a:pos x="1006" y="30"/>
                  </a:cxn>
                  <a:cxn ang="0">
                    <a:pos x="1042" y="34"/>
                  </a:cxn>
                  <a:cxn ang="0">
                    <a:pos x="1073" y="0"/>
                  </a:cxn>
                </a:cxnLst>
                <a:rect l="0" t="0" r="r" b="b"/>
                <a:pathLst>
                  <a:path w="1330" h="2036">
                    <a:moveTo>
                      <a:pt x="1073" y="0"/>
                    </a:moveTo>
                    <a:lnTo>
                      <a:pt x="1079" y="2"/>
                    </a:lnTo>
                    <a:lnTo>
                      <a:pt x="1082" y="4"/>
                    </a:lnTo>
                    <a:lnTo>
                      <a:pt x="1085" y="7"/>
                    </a:lnTo>
                    <a:lnTo>
                      <a:pt x="1088" y="11"/>
                    </a:lnTo>
                    <a:lnTo>
                      <a:pt x="1094" y="15"/>
                    </a:lnTo>
                    <a:lnTo>
                      <a:pt x="1101" y="16"/>
                    </a:lnTo>
                    <a:lnTo>
                      <a:pt x="1108" y="15"/>
                    </a:lnTo>
                    <a:lnTo>
                      <a:pt x="1112" y="16"/>
                    </a:lnTo>
                    <a:lnTo>
                      <a:pt x="1119" y="19"/>
                    </a:lnTo>
                    <a:lnTo>
                      <a:pt x="1127" y="25"/>
                    </a:lnTo>
                    <a:lnTo>
                      <a:pt x="1144" y="39"/>
                    </a:lnTo>
                    <a:lnTo>
                      <a:pt x="1153" y="47"/>
                    </a:lnTo>
                    <a:lnTo>
                      <a:pt x="1174" y="68"/>
                    </a:lnTo>
                    <a:lnTo>
                      <a:pt x="1187" y="78"/>
                    </a:lnTo>
                    <a:lnTo>
                      <a:pt x="1196" y="85"/>
                    </a:lnTo>
                    <a:lnTo>
                      <a:pt x="1198" y="89"/>
                    </a:lnTo>
                    <a:lnTo>
                      <a:pt x="1197" y="95"/>
                    </a:lnTo>
                    <a:lnTo>
                      <a:pt x="1195" y="101"/>
                    </a:lnTo>
                    <a:lnTo>
                      <a:pt x="1192" y="107"/>
                    </a:lnTo>
                    <a:lnTo>
                      <a:pt x="1190" y="112"/>
                    </a:lnTo>
                    <a:lnTo>
                      <a:pt x="1189" y="115"/>
                    </a:lnTo>
                    <a:lnTo>
                      <a:pt x="1191" y="116"/>
                    </a:lnTo>
                    <a:lnTo>
                      <a:pt x="1196" y="115"/>
                    </a:lnTo>
                    <a:lnTo>
                      <a:pt x="1212" y="109"/>
                    </a:lnTo>
                    <a:lnTo>
                      <a:pt x="1220" y="106"/>
                    </a:lnTo>
                    <a:lnTo>
                      <a:pt x="1228" y="102"/>
                    </a:lnTo>
                    <a:lnTo>
                      <a:pt x="1235" y="100"/>
                    </a:lnTo>
                    <a:lnTo>
                      <a:pt x="1243" y="100"/>
                    </a:lnTo>
                    <a:lnTo>
                      <a:pt x="1254" y="102"/>
                    </a:lnTo>
                    <a:lnTo>
                      <a:pt x="1267" y="104"/>
                    </a:lnTo>
                    <a:lnTo>
                      <a:pt x="1281" y="107"/>
                    </a:lnTo>
                    <a:lnTo>
                      <a:pt x="1330" y="1644"/>
                    </a:lnTo>
                    <a:lnTo>
                      <a:pt x="1319" y="1647"/>
                    </a:lnTo>
                    <a:lnTo>
                      <a:pt x="1310" y="1650"/>
                    </a:lnTo>
                    <a:lnTo>
                      <a:pt x="1298" y="1655"/>
                    </a:lnTo>
                    <a:lnTo>
                      <a:pt x="1286" y="1662"/>
                    </a:lnTo>
                    <a:lnTo>
                      <a:pt x="1271" y="1672"/>
                    </a:lnTo>
                    <a:lnTo>
                      <a:pt x="1255" y="1683"/>
                    </a:lnTo>
                    <a:lnTo>
                      <a:pt x="1245" y="1688"/>
                    </a:lnTo>
                    <a:lnTo>
                      <a:pt x="1230" y="1693"/>
                    </a:lnTo>
                    <a:lnTo>
                      <a:pt x="1212" y="1697"/>
                    </a:lnTo>
                    <a:lnTo>
                      <a:pt x="1190" y="1701"/>
                    </a:lnTo>
                    <a:lnTo>
                      <a:pt x="1167" y="1705"/>
                    </a:lnTo>
                    <a:lnTo>
                      <a:pt x="1145" y="1708"/>
                    </a:lnTo>
                    <a:lnTo>
                      <a:pt x="1125" y="1710"/>
                    </a:lnTo>
                    <a:lnTo>
                      <a:pt x="1107" y="1712"/>
                    </a:lnTo>
                    <a:lnTo>
                      <a:pt x="1094" y="1713"/>
                    </a:lnTo>
                    <a:lnTo>
                      <a:pt x="1086" y="1713"/>
                    </a:lnTo>
                    <a:lnTo>
                      <a:pt x="1080" y="1715"/>
                    </a:lnTo>
                    <a:lnTo>
                      <a:pt x="1071" y="1719"/>
                    </a:lnTo>
                    <a:lnTo>
                      <a:pt x="1060" y="1726"/>
                    </a:lnTo>
                    <a:lnTo>
                      <a:pt x="1048" y="1734"/>
                    </a:lnTo>
                    <a:lnTo>
                      <a:pt x="1023" y="1751"/>
                    </a:lnTo>
                    <a:lnTo>
                      <a:pt x="1010" y="1759"/>
                    </a:lnTo>
                    <a:lnTo>
                      <a:pt x="999" y="1767"/>
                    </a:lnTo>
                    <a:lnTo>
                      <a:pt x="990" y="1773"/>
                    </a:lnTo>
                    <a:lnTo>
                      <a:pt x="983" y="1777"/>
                    </a:lnTo>
                    <a:lnTo>
                      <a:pt x="976" y="1780"/>
                    </a:lnTo>
                    <a:lnTo>
                      <a:pt x="971" y="1781"/>
                    </a:lnTo>
                    <a:lnTo>
                      <a:pt x="966" y="1783"/>
                    </a:lnTo>
                    <a:lnTo>
                      <a:pt x="962" y="1786"/>
                    </a:lnTo>
                    <a:lnTo>
                      <a:pt x="959" y="1791"/>
                    </a:lnTo>
                    <a:lnTo>
                      <a:pt x="954" y="1800"/>
                    </a:lnTo>
                    <a:lnTo>
                      <a:pt x="949" y="1814"/>
                    </a:lnTo>
                    <a:lnTo>
                      <a:pt x="940" y="1835"/>
                    </a:lnTo>
                    <a:lnTo>
                      <a:pt x="931" y="1850"/>
                    </a:lnTo>
                    <a:lnTo>
                      <a:pt x="922" y="1862"/>
                    </a:lnTo>
                    <a:lnTo>
                      <a:pt x="914" y="1869"/>
                    </a:lnTo>
                    <a:lnTo>
                      <a:pt x="902" y="1875"/>
                    </a:lnTo>
                    <a:lnTo>
                      <a:pt x="899" y="1876"/>
                    </a:lnTo>
                    <a:lnTo>
                      <a:pt x="897" y="1878"/>
                    </a:lnTo>
                    <a:lnTo>
                      <a:pt x="895" y="1879"/>
                    </a:lnTo>
                    <a:lnTo>
                      <a:pt x="893" y="1883"/>
                    </a:lnTo>
                    <a:lnTo>
                      <a:pt x="891" y="1886"/>
                    </a:lnTo>
                    <a:lnTo>
                      <a:pt x="888" y="1888"/>
                    </a:lnTo>
                    <a:lnTo>
                      <a:pt x="880" y="1888"/>
                    </a:lnTo>
                    <a:lnTo>
                      <a:pt x="872" y="1886"/>
                    </a:lnTo>
                    <a:lnTo>
                      <a:pt x="861" y="1884"/>
                    </a:lnTo>
                    <a:lnTo>
                      <a:pt x="849" y="1883"/>
                    </a:lnTo>
                    <a:lnTo>
                      <a:pt x="839" y="1883"/>
                    </a:lnTo>
                    <a:lnTo>
                      <a:pt x="830" y="1884"/>
                    </a:lnTo>
                    <a:lnTo>
                      <a:pt x="823" y="1885"/>
                    </a:lnTo>
                    <a:lnTo>
                      <a:pt x="818" y="1885"/>
                    </a:lnTo>
                    <a:lnTo>
                      <a:pt x="812" y="1881"/>
                    </a:lnTo>
                    <a:lnTo>
                      <a:pt x="808" y="1879"/>
                    </a:lnTo>
                    <a:lnTo>
                      <a:pt x="803" y="1878"/>
                    </a:lnTo>
                    <a:lnTo>
                      <a:pt x="795" y="1878"/>
                    </a:lnTo>
                    <a:lnTo>
                      <a:pt x="782" y="1879"/>
                    </a:lnTo>
                    <a:lnTo>
                      <a:pt x="765" y="1881"/>
                    </a:lnTo>
                    <a:lnTo>
                      <a:pt x="747" y="1883"/>
                    </a:lnTo>
                    <a:lnTo>
                      <a:pt x="728" y="1885"/>
                    </a:lnTo>
                    <a:lnTo>
                      <a:pt x="711" y="1888"/>
                    </a:lnTo>
                    <a:lnTo>
                      <a:pt x="699" y="1890"/>
                    </a:lnTo>
                    <a:lnTo>
                      <a:pt x="691" y="1893"/>
                    </a:lnTo>
                    <a:lnTo>
                      <a:pt x="682" y="1896"/>
                    </a:lnTo>
                    <a:lnTo>
                      <a:pt x="670" y="1899"/>
                    </a:lnTo>
                    <a:lnTo>
                      <a:pt x="657" y="1902"/>
                    </a:lnTo>
                    <a:lnTo>
                      <a:pt x="643" y="1904"/>
                    </a:lnTo>
                    <a:lnTo>
                      <a:pt x="632" y="1907"/>
                    </a:lnTo>
                    <a:lnTo>
                      <a:pt x="625" y="1910"/>
                    </a:lnTo>
                    <a:lnTo>
                      <a:pt x="620" y="1915"/>
                    </a:lnTo>
                    <a:lnTo>
                      <a:pt x="618" y="1921"/>
                    </a:lnTo>
                    <a:lnTo>
                      <a:pt x="616" y="1937"/>
                    </a:lnTo>
                    <a:lnTo>
                      <a:pt x="614" y="1944"/>
                    </a:lnTo>
                    <a:lnTo>
                      <a:pt x="611" y="1951"/>
                    </a:lnTo>
                    <a:lnTo>
                      <a:pt x="603" y="1957"/>
                    </a:lnTo>
                    <a:lnTo>
                      <a:pt x="596" y="1959"/>
                    </a:lnTo>
                    <a:lnTo>
                      <a:pt x="588" y="1957"/>
                    </a:lnTo>
                    <a:lnTo>
                      <a:pt x="581" y="1954"/>
                    </a:lnTo>
                    <a:lnTo>
                      <a:pt x="576" y="1956"/>
                    </a:lnTo>
                    <a:lnTo>
                      <a:pt x="569" y="1961"/>
                    </a:lnTo>
                    <a:lnTo>
                      <a:pt x="561" y="1970"/>
                    </a:lnTo>
                    <a:lnTo>
                      <a:pt x="552" y="1980"/>
                    </a:lnTo>
                    <a:lnTo>
                      <a:pt x="543" y="1991"/>
                    </a:lnTo>
                    <a:lnTo>
                      <a:pt x="536" y="2001"/>
                    </a:lnTo>
                    <a:lnTo>
                      <a:pt x="529" y="2009"/>
                    </a:lnTo>
                    <a:lnTo>
                      <a:pt x="523" y="2014"/>
                    </a:lnTo>
                    <a:lnTo>
                      <a:pt x="516" y="2017"/>
                    </a:lnTo>
                    <a:lnTo>
                      <a:pt x="505" y="2020"/>
                    </a:lnTo>
                    <a:lnTo>
                      <a:pt x="492" y="2023"/>
                    </a:lnTo>
                    <a:lnTo>
                      <a:pt x="460" y="2029"/>
                    </a:lnTo>
                    <a:lnTo>
                      <a:pt x="446" y="2032"/>
                    </a:lnTo>
                    <a:lnTo>
                      <a:pt x="433" y="2034"/>
                    </a:lnTo>
                    <a:lnTo>
                      <a:pt x="422" y="2036"/>
                    </a:lnTo>
                    <a:lnTo>
                      <a:pt x="416" y="2036"/>
                    </a:lnTo>
                    <a:lnTo>
                      <a:pt x="410" y="2035"/>
                    </a:lnTo>
                    <a:lnTo>
                      <a:pt x="401" y="2032"/>
                    </a:lnTo>
                    <a:lnTo>
                      <a:pt x="391" y="2029"/>
                    </a:lnTo>
                    <a:lnTo>
                      <a:pt x="381" y="2025"/>
                    </a:lnTo>
                    <a:lnTo>
                      <a:pt x="373" y="2022"/>
                    </a:lnTo>
                    <a:lnTo>
                      <a:pt x="366" y="2021"/>
                    </a:lnTo>
                    <a:lnTo>
                      <a:pt x="358" y="2019"/>
                    </a:lnTo>
                    <a:lnTo>
                      <a:pt x="349" y="2013"/>
                    </a:lnTo>
                    <a:lnTo>
                      <a:pt x="340" y="2005"/>
                    </a:lnTo>
                    <a:lnTo>
                      <a:pt x="333" y="1999"/>
                    </a:lnTo>
                    <a:lnTo>
                      <a:pt x="326" y="1995"/>
                    </a:lnTo>
                    <a:lnTo>
                      <a:pt x="317" y="1993"/>
                    </a:lnTo>
                    <a:lnTo>
                      <a:pt x="308" y="1993"/>
                    </a:lnTo>
                    <a:lnTo>
                      <a:pt x="299" y="1996"/>
                    </a:lnTo>
                    <a:lnTo>
                      <a:pt x="295" y="1995"/>
                    </a:lnTo>
                    <a:lnTo>
                      <a:pt x="291" y="1988"/>
                    </a:lnTo>
                    <a:lnTo>
                      <a:pt x="286" y="1978"/>
                    </a:lnTo>
                    <a:lnTo>
                      <a:pt x="282" y="1965"/>
                    </a:lnTo>
                    <a:lnTo>
                      <a:pt x="277" y="1952"/>
                    </a:lnTo>
                    <a:lnTo>
                      <a:pt x="274" y="1941"/>
                    </a:lnTo>
                    <a:lnTo>
                      <a:pt x="271" y="1932"/>
                    </a:lnTo>
                    <a:lnTo>
                      <a:pt x="270" y="1926"/>
                    </a:lnTo>
                    <a:lnTo>
                      <a:pt x="272" y="1922"/>
                    </a:lnTo>
                    <a:lnTo>
                      <a:pt x="278" y="1919"/>
                    </a:lnTo>
                    <a:lnTo>
                      <a:pt x="286" y="1916"/>
                    </a:lnTo>
                    <a:lnTo>
                      <a:pt x="294" y="1912"/>
                    </a:lnTo>
                    <a:lnTo>
                      <a:pt x="303" y="1907"/>
                    </a:lnTo>
                    <a:lnTo>
                      <a:pt x="311" y="1902"/>
                    </a:lnTo>
                    <a:lnTo>
                      <a:pt x="317" y="1895"/>
                    </a:lnTo>
                    <a:lnTo>
                      <a:pt x="318" y="1888"/>
                    </a:lnTo>
                    <a:lnTo>
                      <a:pt x="316" y="1878"/>
                    </a:lnTo>
                    <a:lnTo>
                      <a:pt x="311" y="1866"/>
                    </a:lnTo>
                    <a:lnTo>
                      <a:pt x="304" y="1851"/>
                    </a:lnTo>
                    <a:lnTo>
                      <a:pt x="298" y="1834"/>
                    </a:lnTo>
                    <a:lnTo>
                      <a:pt x="297" y="1816"/>
                    </a:lnTo>
                    <a:lnTo>
                      <a:pt x="299" y="1798"/>
                    </a:lnTo>
                    <a:lnTo>
                      <a:pt x="304" y="1780"/>
                    </a:lnTo>
                    <a:lnTo>
                      <a:pt x="310" y="1763"/>
                    </a:lnTo>
                    <a:lnTo>
                      <a:pt x="312" y="1752"/>
                    </a:lnTo>
                    <a:lnTo>
                      <a:pt x="310" y="1741"/>
                    </a:lnTo>
                    <a:lnTo>
                      <a:pt x="305" y="1732"/>
                    </a:lnTo>
                    <a:lnTo>
                      <a:pt x="298" y="1721"/>
                    </a:lnTo>
                    <a:lnTo>
                      <a:pt x="289" y="1709"/>
                    </a:lnTo>
                    <a:lnTo>
                      <a:pt x="278" y="1695"/>
                    </a:lnTo>
                    <a:lnTo>
                      <a:pt x="267" y="1679"/>
                    </a:lnTo>
                    <a:lnTo>
                      <a:pt x="257" y="1662"/>
                    </a:lnTo>
                    <a:lnTo>
                      <a:pt x="239" y="1623"/>
                    </a:lnTo>
                    <a:lnTo>
                      <a:pt x="232" y="1602"/>
                    </a:lnTo>
                    <a:lnTo>
                      <a:pt x="226" y="1583"/>
                    </a:lnTo>
                    <a:lnTo>
                      <a:pt x="222" y="1566"/>
                    </a:lnTo>
                    <a:lnTo>
                      <a:pt x="219" y="1552"/>
                    </a:lnTo>
                    <a:lnTo>
                      <a:pt x="218" y="1542"/>
                    </a:lnTo>
                    <a:lnTo>
                      <a:pt x="216" y="1534"/>
                    </a:lnTo>
                    <a:lnTo>
                      <a:pt x="212" y="1524"/>
                    </a:lnTo>
                    <a:lnTo>
                      <a:pt x="206" y="1512"/>
                    </a:lnTo>
                    <a:lnTo>
                      <a:pt x="197" y="1500"/>
                    </a:lnTo>
                    <a:lnTo>
                      <a:pt x="188" y="1487"/>
                    </a:lnTo>
                    <a:lnTo>
                      <a:pt x="178" y="1475"/>
                    </a:lnTo>
                    <a:lnTo>
                      <a:pt x="170" y="1464"/>
                    </a:lnTo>
                    <a:lnTo>
                      <a:pt x="162" y="1456"/>
                    </a:lnTo>
                    <a:lnTo>
                      <a:pt x="151" y="1442"/>
                    </a:lnTo>
                    <a:lnTo>
                      <a:pt x="142" y="1428"/>
                    </a:lnTo>
                    <a:lnTo>
                      <a:pt x="137" y="1413"/>
                    </a:lnTo>
                    <a:lnTo>
                      <a:pt x="135" y="1398"/>
                    </a:lnTo>
                    <a:lnTo>
                      <a:pt x="133" y="1392"/>
                    </a:lnTo>
                    <a:lnTo>
                      <a:pt x="128" y="1384"/>
                    </a:lnTo>
                    <a:lnTo>
                      <a:pt x="121" y="1373"/>
                    </a:lnTo>
                    <a:lnTo>
                      <a:pt x="112" y="1361"/>
                    </a:lnTo>
                    <a:lnTo>
                      <a:pt x="88" y="1333"/>
                    </a:lnTo>
                    <a:lnTo>
                      <a:pt x="62" y="1306"/>
                    </a:lnTo>
                    <a:lnTo>
                      <a:pt x="51" y="1293"/>
                    </a:lnTo>
                    <a:lnTo>
                      <a:pt x="40" y="1281"/>
                    </a:lnTo>
                    <a:lnTo>
                      <a:pt x="32" y="1271"/>
                    </a:lnTo>
                    <a:lnTo>
                      <a:pt x="26" y="1264"/>
                    </a:lnTo>
                    <a:lnTo>
                      <a:pt x="22" y="1259"/>
                    </a:lnTo>
                    <a:lnTo>
                      <a:pt x="18" y="1252"/>
                    </a:lnTo>
                    <a:lnTo>
                      <a:pt x="13" y="1243"/>
                    </a:lnTo>
                    <a:lnTo>
                      <a:pt x="8" y="1233"/>
                    </a:lnTo>
                    <a:lnTo>
                      <a:pt x="4" y="1223"/>
                    </a:lnTo>
                    <a:lnTo>
                      <a:pt x="1" y="1216"/>
                    </a:lnTo>
                    <a:lnTo>
                      <a:pt x="0" y="1210"/>
                    </a:lnTo>
                    <a:lnTo>
                      <a:pt x="1" y="1207"/>
                    </a:lnTo>
                    <a:lnTo>
                      <a:pt x="5" y="1209"/>
                    </a:lnTo>
                    <a:lnTo>
                      <a:pt x="11" y="1215"/>
                    </a:lnTo>
                    <a:lnTo>
                      <a:pt x="17" y="1223"/>
                    </a:lnTo>
                    <a:lnTo>
                      <a:pt x="25" y="1232"/>
                    </a:lnTo>
                    <a:lnTo>
                      <a:pt x="32" y="1241"/>
                    </a:lnTo>
                    <a:lnTo>
                      <a:pt x="39" y="1248"/>
                    </a:lnTo>
                    <a:lnTo>
                      <a:pt x="43" y="1250"/>
                    </a:lnTo>
                    <a:lnTo>
                      <a:pt x="50" y="1253"/>
                    </a:lnTo>
                    <a:lnTo>
                      <a:pt x="56" y="1260"/>
                    </a:lnTo>
                    <a:lnTo>
                      <a:pt x="63" y="1270"/>
                    </a:lnTo>
                    <a:lnTo>
                      <a:pt x="69" y="1279"/>
                    </a:lnTo>
                    <a:lnTo>
                      <a:pt x="76" y="1286"/>
                    </a:lnTo>
                    <a:lnTo>
                      <a:pt x="79" y="1287"/>
                    </a:lnTo>
                    <a:lnTo>
                      <a:pt x="80" y="1284"/>
                    </a:lnTo>
                    <a:lnTo>
                      <a:pt x="79" y="1279"/>
                    </a:lnTo>
                    <a:lnTo>
                      <a:pt x="76" y="1273"/>
                    </a:lnTo>
                    <a:lnTo>
                      <a:pt x="73" y="1264"/>
                    </a:lnTo>
                    <a:lnTo>
                      <a:pt x="69" y="1258"/>
                    </a:lnTo>
                    <a:lnTo>
                      <a:pt x="64" y="1251"/>
                    </a:lnTo>
                    <a:lnTo>
                      <a:pt x="59" y="1247"/>
                    </a:lnTo>
                    <a:lnTo>
                      <a:pt x="53" y="1240"/>
                    </a:lnTo>
                    <a:lnTo>
                      <a:pt x="48" y="1230"/>
                    </a:lnTo>
                    <a:lnTo>
                      <a:pt x="45" y="1220"/>
                    </a:lnTo>
                    <a:lnTo>
                      <a:pt x="43" y="1210"/>
                    </a:lnTo>
                    <a:lnTo>
                      <a:pt x="44" y="1204"/>
                    </a:lnTo>
                    <a:lnTo>
                      <a:pt x="47" y="1204"/>
                    </a:lnTo>
                    <a:lnTo>
                      <a:pt x="52" y="1208"/>
                    </a:lnTo>
                    <a:lnTo>
                      <a:pt x="68" y="1223"/>
                    </a:lnTo>
                    <a:lnTo>
                      <a:pt x="86" y="1243"/>
                    </a:lnTo>
                    <a:lnTo>
                      <a:pt x="107" y="1264"/>
                    </a:lnTo>
                    <a:lnTo>
                      <a:pt x="109" y="1264"/>
                    </a:lnTo>
                    <a:lnTo>
                      <a:pt x="109" y="1260"/>
                    </a:lnTo>
                    <a:lnTo>
                      <a:pt x="107" y="1253"/>
                    </a:lnTo>
                    <a:lnTo>
                      <a:pt x="103" y="1243"/>
                    </a:lnTo>
                    <a:lnTo>
                      <a:pt x="99" y="1231"/>
                    </a:lnTo>
                    <a:lnTo>
                      <a:pt x="94" y="1219"/>
                    </a:lnTo>
                    <a:lnTo>
                      <a:pt x="88" y="1205"/>
                    </a:lnTo>
                    <a:lnTo>
                      <a:pt x="83" y="1192"/>
                    </a:lnTo>
                    <a:lnTo>
                      <a:pt x="78" y="1180"/>
                    </a:lnTo>
                    <a:lnTo>
                      <a:pt x="73" y="1170"/>
                    </a:lnTo>
                    <a:lnTo>
                      <a:pt x="70" y="1162"/>
                    </a:lnTo>
                    <a:lnTo>
                      <a:pt x="64" y="1152"/>
                    </a:lnTo>
                    <a:lnTo>
                      <a:pt x="57" y="1142"/>
                    </a:lnTo>
                    <a:lnTo>
                      <a:pt x="38" y="1118"/>
                    </a:lnTo>
                    <a:lnTo>
                      <a:pt x="29" y="1107"/>
                    </a:lnTo>
                    <a:lnTo>
                      <a:pt x="21" y="1097"/>
                    </a:lnTo>
                    <a:lnTo>
                      <a:pt x="15" y="1088"/>
                    </a:lnTo>
                    <a:lnTo>
                      <a:pt x="12" y="1081"/>
                    </a:lnTo>
                    <a:lnTo>
                      <a:pt x="12" y="1073"/>
                    </a:lnTo>
                    <a:lnTo>
                      <a:pt x="13" y="1061"/>
                    </a:lnTo>
                    <a:lnTo>
                      <a:pt x="16" y="1047"/>
                    </a:lnTo>
                    <a:lnTo>
                      <a:pt x="19" y="1032"/>
                    </a:lnTo>
                    <a:lnTo>
                      <a:pt x="23" y="1016"/>
                    </a:lnTo>
                    <a:lnTo>
                      <a:pt x="27" y="1003"/>
                    </a:lnTo>
                    <a:lnTo>
                      <a:pt x="30" y="992"/>
                    </a:lnTo>
                    <a:lnTo>
                      <a:pt x="32" y="984"/>
                    </a:lnTo>
                    <a:lnTo>
                      <a:pt x="32" y="973"/>
                    </a:lnTo>
                    <a:lnTo>
                      <a:pt x="29" y="961"/>
                    </a:lnTo>
                    <a:lnTo>
                      <a:pt x="25" y="948"/>
                    </a:lnTo>
                    <a:lnTo>
                      <a:pt x="23" y="933"/>
                    </a:lnTo>
                    <a:lnTo>
                      <a:pt x="24" y="921"/>
                    </a:lnTo>
                    <a:lnTo>
                      <a:pt x="27" y="909"/>
                    </a:lnTo>
                    <a:lnTo>
                      <a:pt x="30" y="895"/>
                    </a:lnTo>
                    <a:lnTo>
                      <a:pt x="35" y="883"/>
                    </a:lnTo>
                    <a:lnTo>
                      <a:pt x="40" y="873"/>
                    </a:lnTo>
                    <a:lnTo>
                      <a:pt x="46" y="868"/>
                    </a:lnTo>
                    <a:lnTo>
                      <a:pt x="49" y="868"/>
                    </a:lnTo>
                    <a:lnTo>
                      <a:pt x="51" y="872"/>
                    </a:lnTo>
                    <a:lnTo>
                      <a:pt x="52" y="879"/>
                    </a:lnTo>
                    <a:lnTo>
                      <a:pt x="52" y="888"/>
                    </a:lnTo>
                    <a:lnTo>
                      <a:pt x="54" y="906"/>
                    </a:lnTo>
                    <a:lnTo>
                      <a:pt x="57" y="912"/>
                    </a:lnTo>
                    <a:lnTo>
                      <a:pt x="61" y="917"/>
                    </a:lnTo>
                    <a:lnTo>
                      <a:pt x="65" y="917"/>
                    </a:lnTo>
                    <a:lnTo>
                      <a:pt x="70" y="912"/>
                    </a:lnTo>
                    <a:lnTo>
                      <a:pt x="75" y="904"/>
                    </a:lnTo>
                    <a:lnTo>
                      <a:pt x="79" y="893"/>
                    </a:lnTo>
                    <a:lnTo>
                      <a:pt x="84" y="881"/>
                    </a:lnTo>
                    <a:lnTo>
                      <a:pt x="89" y="868"/>
                    </a:lnTo>
                    <a:lnTo>
                      <a:pt x="94" y="857"/>
                    </a:lnTo>
                    <a:lnTo>
                      <a:pt x="98" y="848"/>
                    </a:lnTo>
                    <a:lnTo>
                      <a:pt x="103" y="843"/>
                    </a:lnTo>
                    <a:lnTo>
                      <a:pt x="109" y="839"/>
                    </a:lnTo>
                    <a:lnTo>
                      <a:pt x="118" y="831"/>
                    </a:lnTo>
                    <a:lnTo>
                      <a:pt x="128" y="822"/>
                    </a:lnTo>
                    <a:lnTo>
                      <a:pt x="140" y="812"/>
                    </a:lnTo>
                    <a:lnTo>
                      <a:pt x="152" y="802"/>
                    </a:lnTo>
                    <a:lnTo>
                      <a:pt x="163" y="791"/>
                    </a:lnTo>
                    <a:lnTo>
                      <a:pt x="173" y="782"/>
                    </a:lnTo>
                    <a:lnTo>
                      <a:pt x="188" y="767"/>
                    </a:lnTo>
                    <a:lnTo>
                      <a:pt x="195" y="762"/>
                    </a:lnTo>
                    <a:lnTo>
                      <a:pt x="205" y="755"/>
                    </a:lnTo>
                    <a:lnTo>
                      <a:pt x="215" y="747"/>
                    </a:lnTo>
                    <a:lnTo>
                      <a:pt x="226" y="740"/>
                    </a:lnTo>
                    <a:lnTo>
                      <a:pt x="236" y="732"/>
                    </a:lnTo>
                    <a:lnTo>
                      <a:pt x="246" y="726"/>
                    </a:lnTo>
                    <a:lnTo>
                      <a:pt x="252" y="721"/>
                    </a:lnTo>
                    <a:lnTo>
                      <a:pt x="256" y="719"/>
                    </a:lnTo>
                    <a:lnTo>
                      <a:pt x="262" y="717"/>
                    </a:lnTo>
                    <a:lnTo>
                      <a:pt x="271" y="716"/>
                    </a:lnTo>
                    <a:lnTo>
                      <a:pt x="282" y="715"/>
                    </a:lnTo>
                    <a:lnTo>
                      <a:pt x="293" y="713"/>
                    </a:lnTo>
                    <a:lnTo>
                      <a:pt x="304" y="709"/>
                    </a:lnTo>
                    <a:lnTo>
                      <a:pt x="317" y="703"/>
                    </a:lnTo>
                    <a:lnTo>
                      <a:pt x="330" y="694"/>
                    </a:lnTo>
                    <a:lnTo>
                      <a:pt x="341" y="686"/>
                    </a:lnTo>
                    <a:lnTo>
                      <a:pt x="348" y="679"/>
                    </a:lnTo>
                    <a:lnTo>
                      <a:pt x="354" y="676"/>
                    </a:lnTo>
                    <a:lnTo>
                      <a:pt x="361" y="675"/>
                    </a:lnTo>
                    <a:lnTo>
                      <a:pt x="378" y="677"/>
                    </a:lnTo>
                    <a:lnTo>
                      <a:pt x="387" y="676"/>
                    </a:lnTo>
                    <a:lnTo>
                      <a:pt x="396" y="671"/>
                    </a:lnTo>
                    <a:lnTo>
                      <a:pt x="403" y="663"/>
                    </a:lnTo>
                    <a:lnTo>
                      <a:pt x="411" y="653"/>
                    </a:lnTo>
                    <a:lnTo>
                      <a:pt x="417" y="643"/>
                    </a:lnTo>
                    <a:lnTo>
                      <a:pt x="422" y="635"/>
                    </a:lnTo>
                    <a:lnTo>
                      <a:pt x="428" y="632"/>
                    </a:lnTo>
                    <a:lnTo>
                      <a:pt x="438" y="630"/>
                    </a:lnTo>
                    <a:lnTo>
                      <a:pt x="462" y="630"/>
                    </a:lnTo>
                    <a:lnTo>
                      <a:pt x="475" y="631"/>
                    </a:lnTo>
                    <a:lnTo>
                      <a:pt x="494" y="631"/>
                    </a:lnTo>
                    <a:lnTo>
                      <a:pt x="501" y="629"/>
                    </a:lnTo>
                    <a:lnTo>
                      <a:pt x="511" y="626"/>
                    </a:lnTo>
                    <a:lnTo>
                      <a:pt x="525" y="620"/>
                    </a:lnTo>
                    <a:lnTo>
                      <a:pt x="540" y="613"/>
                    </a:lnTo>
                    <a:lnTo>
                      <a:pt x="555" y="606"/>
                    </a:lnTo>
                    <a:lnTo>
                      <a:pt x="571" y="598"/>
                    </a:lnTo>
                    <a:lnTo>
                      <a:pt x="586" y="589"/>
                    </a:lnTo>
                    <a:lnTo>
                      <a:pt x="599" y="581"/>
                    </a:lnTo>
                    <a:lnTo>
                      <a:pt x="609" y="572"/>
                    </a:lnTo>
                    <a:lnTo>
                      <a:pt x="619" y="559"/>
                    </a:lnTo>
                    <a:lnTo>
                      <a:pt x="627" y="544"/>
                    </a:lnTo>
                    <a:lnTo>
                      <a:pt x="636" y="527"/>
                    </a:lnTo>
                    <a:lnTo>
                      <a:pt x="644" y="511"/>
                    </a:lnTo>
                    <a:lnTo>
                      <a:pt x="651" y="497"/>
                    </a:lnTo>
                    <a:lnTo>
                      <a:pt x="657" y="484"/>
                    </a:lnTo>
                    <a:lnTo>
                      <a:pt x="662" y="474"/>
                    </a:lnTo>
                    <a:lnTo>
                      <a:pt x="666" y="469"/>
                    </a:lnTo>
                    <a:lnTo>
                      <a:pt x="674" y="461"/>
                    </a:lnTo>
                    <a:lnTo>
                      <a:pt x="682" y="450"/>
                    </a:lnTo>
                    <a:lnTo>
                      <a:pt x="689" y="439"/>
                    </a:lnTo>
                    <a:lnTo>
                      <a:pt x="695" y="430"/>
                    </a:lnTo>
                    <a:lnTo>
                      <a:pt x="697" y="425"/>
                    </a:lnTo>
                    <a:lnTo>
                      <a:pt x="694" y="420"/>
                    </a:lnTo>
                    <a:lnTo>
                      <a:pt x="690" y="415"/>
                    </a:lnTo>
                    <a:lnTo>
                      <a:pt x="684" y="410"/>
                    </a:lnTo>
                    <a:lnTo>
                      <a:pt x="679" y="404"/>
                    </a:lnTo>
                    <a:lnTo>
                      <a:pt x="676" y="398"/>
                    </a:lnTo>
                    <a:lnTo>
                      <a:pt x="674" y="394"/>
                    </a:lnTo>
                    <a:lnTo>
                      <a:pt x="674" y="388"/>
                    </a:lnTo>
                    <a:lnTo>
                      <a:pt x="675" y="380"/>
                    </a:lnTo>
                    <a:lnTo>
                      <a:pt x="677" y="368"/>
                    </a:lnTo>
                    <a:lnTo>
                      <a:pt x="680" y="357"/>
                    </a:lnTo>
                    <a:lnTo>
                      <a:pt x="687" y="346"/>
                    </a:lnTo>
                    <a:lnTo>
                      <a:pt x="695" y="336"/>
                    </a:lnTo>
                    <a:lnTo>
                      <a:pt x="705" y="326"/>
                    </a:lnTo>
                    <a:lnTo>
                      <a:pt x="712" y="317"/>
                    </a:lnTo>
                    <a:lnTo>
                      <a:pt x="719" y="311"/>
                    </a:lnTo>
                    <a:lnTo>
                      <a:pt x="722" y="308"/>
                    </a:lnTo>
                    <a:lnTo>
                      <a:pt x="725" y="304"/>
                    </a:lnTo>
                    <a:lnTo>
                      <a:pt x="729" y="297"/>
                    </a:lnTo>
                    <a:lnTo>
                      <a:pt x="741" y="284"/>
                    </a:lnTo>
                    <a:lnTo>
                      <a:pt x="747" y="279"/>
                    </a:lnTo>
                    <a:lnTo>
                      <a:pt x="752" y="277"/>
                    </a:lnTo>
                    <a:lnTo>
                      <a:pt x="756" y="280"/>
                    </a:lnTo>
                    <a:lnTo>
                      <a:pt x="759" y="288"/>
                    </a:lnTo>
                    <a:lnTo>
                      <a:pt x="762" y="297"/>
                    </a:lnTo>
                    <a:lnTo>
                      <a:pt x="766" y="310"/>
                    </a:lnTo>
                    <a:lnTo>
                      <a:pt x="770" y="322"/>
                    </a:lnTo>
                    <a:lnTo>
                      <a:pt x="774" y="333"/>
                    </a:lnTo>
                    <a:lnTo>
                      <a:pt x="779" y="341"/>
                    </a:lnTo>
                    <a:lnTo>
                      <a:pt x="786" y="346"/>
                    </a:lnTo>
                    <a:lnTo>
                      <a:pt x="792" y="346"/>
                    </a:lnTo>
                    <a:lnTo>
                      <a:pt x="797" y="344"/>
                    </a:lnTo>
                    <a:lnTo>
                      <a:pt x="805" y="338"/>
                    </a:lnTo>
                    <a:lnTo>
                      <a:pt x="807" y="337"/>
                    </a:lnTo>
                    <a:lnTo>
                      <a:pt x="809" y="337"/>
                    </a:lnTo>
                    <a:lnTo>
                      <a:pt x="810" y="336"/>
                    </a:lnTo>
                    <a:lnTo>
                      <a:pt x="814" y="336"/>
                    </a:lnTo>
                    <a:lnTo>
                      <a:pt x="816" y="334"/>
                    </a:lnTo>
                    <a:lnTo>
                      <a:pt x="817" y="332"/>
                    </a:lnTo>
                    <a:lnTo>
                      <a:pt x="818" y="328"/>
                    </a:lnTo>
                    <a:lnTo>
                      <a:pt x="818" y="324"/>
                    </a:lnTo>
                    <a:lnTo>
                      <a:pt x="816" y="311"/>
                    </a:lnTo>
                    <a:lnTo>
                      <a:pt x="809" y="299"/>
                    </a:lnTo>
                    <a:lnTo>
                      <a:pt x="800" y="290"/>
                    </a:lnTo>
                    <a:lnTo>
                      <a:pt x="790" y="284"/>
                    </a:lnTo>
                    <a:lnTo>
                      <a:pt x="784" y="281"/>
                    </a:lnTo>
                    <a:lnTo>
                      <a:pt x="781" y="276"/>
                    </a:lnTo>
                    <a:lnTo>
                      <a:pt x="779" y="266"/>
                    </a:lnTo>
                    <a:lnTo>
                      <a:pt x="777" y="262"/>
                    </a:lnTo>
                    <a:lnTo>
                      <a:pt x="773" y="260"/>
                    </a:lnTo>
                    <a:lnTo>
                      <a:pt x="767" y="258"/>
                    </a:lnTo>
                    <a:lnTo>
                      <a:pt x="764" y="254"/>
                    </a:lnTo>
                    <a:lnTo>
                      <a:pt x="765" y="248"/>
                    </a:lnTo>
                    <a:lnTo>
                      <a:pt x="769" y="243"/>
                    </a:lnTo>
                    <a:lnTo>
                      <a:pt x="774" y="241"/>
                    </a:lnTo>
                    <a:lnTo>
                      <a:pt x="779" y="243"/>
                    </a:lnTo>
                    <a:lnTo>
                      <a:pt x="785" y="247"/>
                    </a:lnTo>
                    <a:lnTo>
                      <a:pt x="791" y="252"/>
                    </a:lnTo>
                    <a:lnTo>
                      <a:pt x="798" y="254"/>
                    </a:lnTo>
                    <a:lnTo>
                      <a:pt x="809" y="255"/>
                    </a:lnTo>
                    <a:lnTo>
                      <a:pt x="834" y="255"/>
                    </a:lnTo>
                    <a:lnTo>
                      <a:pt x="844" y="257"/>
                    </a:lnTo>
                    <a:lnTo>
                      <a:pt x="853" y="258"/>
                    </a:lnTo>
                    <a:lnTo>
                      <a:pt x="859" y="257"/>
                    </a:lnTo>
                    <a:lnTo>
                      <a:pt x="862" y="254"/>
                    </a:lnTo>
                    <a:lnTo>
                      <a:pt x="863" y="250"/>
                    </a:lnTo>
                    <a:lnTo>
                      <a:pt x="865" y="245"/>
                    </a:lnTo>
                    <a:lnTo>
                      <a:pt x="870" y="239"/>
                    </a:lnTo>
                    <a:lnTo>
                      <a:pt x="883" y="227"/>
                    </a:lnTo>
                    <a:lnTo>
                      <a:pt x="885" y="221"/>
                    </a:lnTo>
                    <a:lnTo>
                      <a:pt x="881" y="215"/>
                    </a:lnTo>
                    <a:lnTo>
                      <a:pt x="877" y="208"/>
                    </a:lnTo>
                    <a:lnTo>
                      <a:pt x="871" y="202"/>
                    </a:lnTo>
                    <a:lnTo>
                      <a:pt x="867" y="196"/>
                    </a:lnTo>
                    <a:lnTo>
                      <a:pt x="866" y="190"/>
                    </a:lnTo>
                    <a:lnTo>
                      <a:pt x="867" y="184"/>
                    </a:lnTo>
                    <a:lnTo>
                      <a:pt x="865" y="168"/>
                    </a:lnTo>
                    <a:lnTo>
                      <a:pt x="864" y="161"/>
                    </a:lnTo>
                    <a:lnTo>
                      <a:pt x="864" y="157"/>
                    </a:lnTo>
                    <a:lnTo>
                      <a:pt x="868" y="155"/>
                    </a:lnTo>
                    <a:lnTo>
                      <a:pt x="878" y="155"/>
                    </a:lnTo>
                    <a:lnTo>
                      <a:pt x="884" y="156"/>
                    </a:lnTo>
                    <a:lnTo>
                      <a:pt x="889" y="154"/>
                    </a:lnTo>
                    <a:lnTo>
                      <a:pt x="896" y="150"/>
                    </a:lnTo>
                    <a:lnTo>
                      <a:pt x="906" y="145"/>
                    </a:lnTo>
                    <a:lnTo>
                      <a:pt x="915" y="139"/>
                    </a:lnTo>
                    <a:lnTo>
                      <a:pt x="924" y="134"/>
                    </a:lnTo>
                    <a:lnTo>
                      <a:pt x="932" y="130"/>
                    </a:lnTo>
                    <a:lnTo>
                      <a:pt x="936" y="129"/>
                    </a:lnTo>
                    <a:lnTo>
                      <a:pt x="937" y="128"/>
                    </a:lnTo>
                    <a:lnTo>
                      <a:pt x="934" y="126"/>
                    </a:lnTo>
                    <a:lnTo>
                      <a:pt x="930" y="122"/>
                    </a:lnTo>
                    <a:lnTo>
                      <a:pt x="924" y="118"/>
                    </a:lnTo>
                    <a:lnTo>
                      <a:pt x="919" y="112"/>
                    </a:lnTo>
                    <a:lnTo>
                      <a:pt x="916" y="107"/>
                    </a:lnTo>
                    <a:lnTo>
                      <a:pt x="915" y="102"/>
                    </a:lnTo>
                    <a:lnTo>
                      <a:pt x="919" y="96"/>
                    </a:lnTo>
                    <a:lnTo>
                      <a:pt x="926" y="90"/>
                    </a:lnTo>
                    <a:lnTo>
                      <a:pt x="935" y="84"/>
                    </a:lnTo>
                    <a:lnTo>
                      <a:pt x="955" y="72"/>
                    </a:lnTo>
                    <a:lnTo>
                      <a:pt x="962" y="69"/>
                    </a:lnTo>
                    <a:lnTo>
                      <a:pt x="966" y="67"/>
                    </a:lnTo>
                    <a:lnTo>
                      <a:pt x="972" y="68"/>
                    </a:lnTo>
                    <a:lnTo>
                      <a:pt x="978" y="72"/>
                    </a:lnTo>
                    <a:lnTo>
                      <a:pt x="985" y="74"/>
                    </a:lnTo>
                    <a:lnTo>
                      <a:pt x="988" y="73"/>
                    </a:lnTo>
                    <a:lnTo>
                      <a:pt x="989" y="69"/>
                    </a:lnTo>
                    <a:lnTo>
                      <a:pt x="989" y="64"/>
                    </a:lnTo>
                    <a:lnTo>
                      <a:pt x="987" y="54"/>
                    </a:lnTo>
                    <a:lnTo>
                      <a:pt x="989" y="48"/>
                    </a:lnTo>
                    <a:lnTo>
                      <a:pt x="994" y="43"/>
                    </a:lnTo>
                    <a:lnTo>
                      <a:pt x="999" y="39"/>
                    </a:lnTo>
                    <a:lnTo>
                      <a:pt x="1002" y="34"/>
                    </a:lnTo>
                    <a:lnTo>
                      <a:pt x="1006" y="30"/>
                    </a:lnTo>
                    <a:lnTo>
                      <a:pt x="1020" y="24"/>
                    </a:lnTo>
                    <a:lnTo>
                      <a:pt x="1025" y="23"/>
                    </a:lnTo>
                    <a:lnTo>
                      <a:pt x="1027" y="23"/>
                    </a:lnTo>
                    <a:lnTo>
                      <a:pt x="1029" y="24"/>
                    </a:lnTo>
                    <a:lnTo>
                      <a:pt x="1030" y="25"/>
                    </a:lnTo>
                    <a:lnTo>
                      <a:pt x="1031" y="27"/>
                    </a:lnTo>
                    <a:lnTo>
                      <a:pt x="1037" y="33"/>
                    </a:lnTo>
                    <a:lnTo>
                      <a:pt x="1042" y="34"/>
                    </a:lnTo>
                    <a:lnTo>
                      <a:pt x="1046" y="32"/>
                    </a:lnTo>
                    <a:lnTo>
                      <a:pt x="1052" y="29"/>
                    </a:lnTo>
                    <a:lnTo>
                      <a:pt x="1057" y="25"/>
                    </a:lnTo>
                    <a:lnTo>
                      <a:pt x="1061" y="22"/>
                    </a:lnTo>
                    <a:lnTo>
                      <a:pt x="1064" y="18"/>
                    </a:lnTo>
                    <a:lnTo>
                      <a:pt x="1068" y="6"/>
                    </a:lnTo>
                    <a:lnTo>
                      <a:pt x="1070" y="2"/>
                    </a:lnTo>
                    <a:lnTo>
                      <a:pt x="1073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Freeform 7"/>
              <p:cNvSpPr>
                <a:spLocks noEditPoints="1"/>
              </p:cNvSpPr>
              <p:nvPr/>
            </p:nvSpPr>
            <p:spPr bwMode="auto">
              <a:xfrm>
                <a:off x="5603876" y="3579813"/>
                <a:ext cx="1536700" cy="1822450"/>
              </a:xfrm>
              <a:custGeom>
                <a:avLst/>
                <a:gdLst/>
                <a:ahLst/>
                <a:cxnLst>
                  <a:cxn ang="0">
                    <a:pos x="650" y="417"/>
                  </a:cxn>
                  <a:cxn ang="0">
                    <a:pos x="675" y="466"/>
                  </a:cxn>
                  <a:cxn ang="0">
                    <a:pos x="669" y="478"/>
                  </a:cxn>
                  <a:cxn ang="0">
                    <a:pos x="660" y="485"/>
                  </a:cxn>
                  <a:cxn ang="0">
                    <a:pos x="675" y="522"/>
                  </a:cxn>
                  <a:cxn ang="0">
                    <a:pos x="685" y="532"/>
                  </a:cxn>
                  <a:cxn ang="0">
                    <a:pos x="707" y="484"/>
                  </a:cxn>
                  <a:cxn ang="0">
                    <a:pos x="685" y="426"/>
                  </a:cxn>
                  <a:cxn ang="0">
                    <a:pos x="667" y="416"/>
                  </a:cxn>
                  <a:cxn ang="0">
                    <a:pos x="651" y="391"/>
                  </a:cxn>
                  <a:cxn ang="0">
                    <a:pos x="628" y="209"/>
                  </a:cxn>
                  <a:cxn ang="0">
                    <a:pos x="637" y="236"/>
                  </a:cxn>
                  <a:cxn ang="0">
                    <a:pos x="621" y="264"/>
                  </a:cxn>
                  <a:cxn ang="0">
                    <a:pos x="642" y="276"/>
                  </a:cxn>
                  <a:cxn ang="0">
                    <a:pos x="665" y="274"/>
                  </a:cxn>
                  <a:cxn ang="0">
                    <a:pos x="656" y="306"/>
                  </a:cxn>
                  <a:cxn ang="0">
                    <a:pos x="637" y="320"/>
                  </a:cxn>
                  <a:cxn ang="0">
                    <a:pos x="667" y="324"/>
                  </a:cxn>
                  <a:cxn ang="0">
                    <a:pos x="706" y="297"/>
                  </a:cxn>
                  <a:cxn ang="0">
                    <a:pos x="689" y="245"/>
                  </a:cxn>
                  <a:cxn ang="0">
                    <a:pos x="690" y="221"/>
                  </a:cxn>
                  <a:cxn ang="0">
                    <a:pos x="672" y="194"/>
                  </a:cxn>
                  <a:cxn ang="0">
                    <a:pos x="301" y="0"/>
                  </a:cxn>
                  <a:cxn ang="0">
                    <a:pos x="852" y="13"/>
                  </a:cxn>
                  <a:cxn ang="0">
                    <a:pos x="853" y="1134"/>
                  </a:cxn>
                  <a:cxn ang="0">
                    <a:pos x="812" y="1071"/>
                  </a:cxn>
                  <a:cxn ang="0">
                    <a:pos x="809" y="1011"/>
                  </a:cxn>
                  <a:cxn ang="0">
                    <a:pos x="772" y="919"/>
                  </a:cxn>
                  <a:cxn ang="0">
                    <a:pos x="771" y="885"/>
                  </a:cxn>
                  <a:cxn ang="0">
                    <a:pos x="726" y="896"/>
                  </a:cxn>
                  <a:cxn ang="0">
                    <a:pos x="702" y="876"/>
                  </a:cxn>
                  <a:cxn ang="0">
                    <a:pos x="730" y="837"/>
                  </a:cxn>
                  <a:cxn ang="0">
                    <a:pos x="706" y="806"/>
                  </a:cxn>
                  <a:cxn ang="0">
                    <a:pos x="682" y="772"/>
                  </a:cxn>
                  <a:cxn ang="0">
                    <a:pos x="669" y="821"/>
                  </a:cxn>
                  <a:cxn ang="0">
                    <a:pos x="652" y="858"/>
                  </a:cxn>
                  <a:cxn ang="0">
                    <a:pos x="596" y="870"/>
                  </a:cxn>
                  <a:cxn ang="0">
                    <a:pos x="603" y="841"/>
                  </a:cxn>
                  <a:cxn ang="0">
                    <a:pos x="641" y="827"/>
                  </a:cxn>
                  <a:cxn ang="0">
                    <a:pos x="653" y="759"/>
                  </a:cxn>
                  <a:cxn ang="0">
                    <a:pos x="681" y="697"/>
                  </a:cxn>
                  <a:cxn ang="0">
                    <a:pos x="683" y="650"/>
                  </a:cxn>
                  <a:cxn ang="0">
                    <a:pos x="673" y="625"/>
                  </a:cxn>
                  <a:cxn ang="0">
                    <a:pos x="633" y="702"/>
                  </a:cxn>
                  <a:cxn ang="0">
                    <a:pos x="559" y="754"/>
                  </a:cxn>
                  <a:cxn ang="0">
                    <a:pos x="530" y="799"/>
                  </a:cxn>
                  <a:cxn ang="0">
                    <a:pos x="524" y="831"/>
                  </a:cxn>
                  <a:cxn ang="0">
                    <a:pos x="487" y="774"/>
                  </a:cxn>
                  <a:cxn ang="0">
                    <a:pos x="465" y="733"/>
                  </a:cxn>
                  <a:cxn ang="0">
                    <a:pos x="430" y="683"/>
                  </a:cxn>
                  <a:cxn ang="0">
                    <a:pos x="396" y="652"/>
                  </a:cxn>
                  <a:cxn ang="0">
                    <a:pos x="397" y="610"/>
                  </a:cxn>
                  <a:cxn ang="0">
                    <a:pos x="351" y="583"/>
                  </a:cxn>
                  <a:cxn ang="0">
                    <a:pos x="306" y="569"/>
                  </a:cxn>
                  <a:cxn ang="0">
                    <a:pos x="259" y="560"/>
                  </a:cxn>
                  <a:cxn ang="0">
                    <a:pos x="197" y="524"/>
                  </a:cxn>
                  <a:cxn ang="0">
                    <a:pos x="136" y="522"/>
                  </a:cxn>
                  <a:cxn ang="0">
                    <a:pos x="17" y="533"/>
                  </a:cxn>
                  <a:cxn ang="0">
                    <a:pos x="233" y="0"/>
                  </a:cxn>
                </a:cxnLst>
                <a:rect l="0" t="0" r="r" b="b"/>
                <a:pathLst>
                  <a:path w="968" h="1148">
                    <a:moveTo>
                      <a:pt x="651" y="391"/>
                    </a:moveTo>
                    <a:lnTo>
                      <a:pt x="645" y="393"/>
                    </a:lnTo>
                    <a:lnTo>
                      <a:pt x="641" y="397"/>
                    </a:lnTo>
                    <a:lnTo>
                      <a:pt x="640" y="402"/>
                    </a:lnTo>
                    <a:lnTo>
                      <a:pt x="643" y="409"/>
                    </a:lnTo>
                    <a:lnTo>
                      <a:pt x="650" y="417"/>
                    </a:lnTo>
                    <a:lnTo>
                      <a:pt x="655" y="424"/>
                    </a:lnTo>
                    <a:lnTo>
                      <a:pt x="660" y="433"/>
                    </a:lnTo>
                    <a:lnTo>
                      <a:pt x="662" y="441"/>
                    </a:lnTo>
                    <a:lnTo>
                      <a:pt x="664" y="450"/>
                    </a:lnTo>
                    <a:lnTo>
                      <a:pt x="670" y="459"/>
                    </a:lnTo>
                    <a:lnTo>
                      <a:pt x="675" y="466"/>
                    </a:lnTo>
                    <a:lnTo>
                      <a:pt x="677" y="469"/>
                    </a:lnTo>
                    <a:lnTo>
                      <a:pt x="677" y="473"/>
                    </a:lnTo>
                    <a:lnTo>
                      <a:pt x="675" y="475"/>
                    </a:lnTo>
                    <a:lnTo>
                      <a:pt x="674" y="477"/>
                    </a:lnTo>
                    <a:lnTo>
                      <a:pt x="671" y="477"/>
                    </a:lnTo>
                    <a:lnTo>
                      <a:pt x="669" y="478"/>
                    </a:lnTo>
                    <a:lnTo>
                      <a:pt x="667" y="478"/>
                    </a:lnTo>
                    <a:lnTo>
                      <a:pt x="664" y="479"/>
                    </a:lnTo>
                    <a:lnTo>
                      <a:pt x="662" y="480"/>
                    </a:lnTo>
                    <a:lnTo>
                      <a:pt x="659" y="483"/>
                    </a:lnTo>
                    <a:lnTo>
                      <a:pt x="659" y="484"/>
                    </a:lnTo>
                    <a:lnTo>
                      <a:pt x="660" y="485"/>
                    </a:lnTo>
                    <a:lnTo>
                      <a:pt x="670" y="490"/>
                    </a:lnTo>
                    <a:lnTo>
                      <a:pt x="676" y="495"/>
                    </a:lnTo>
                    <a:lnTo>
                      <a:pt x="680" y="502"/>
                    </a:lnTo>
                    <a:lnTo>
                      <a:pt x="680" y="509"/>
                    </a:lnTo>
                    <a:lnTo>
                      <a:pt x="678" y="515"/>
                    </a:lnTo>
                    <a:lnTo>
                      <a:pt x="675" y="522"/>
                    </a:lnTo>
                    <a:lnTo>
                      <a:pt x="673" y="538"/>
                    </a:lnTo>
                    <a:lnTo>
                      <a:pt x="673" y="544"/>
                    </a:lnTo>
                    <a:lnTo>
                      <a:pt x="675" y="546"/>
                    </a:lnTo>
                    <a:lnTo>
                      <a:pt x="678" y="544"/>
                    </a:lnTo>
                    <a:lnTo>
                      <a:pt x="681" y="539"/>
                    </a:lnTo>
                    <a:lnTo>
                      <a:pt x="685" y="532"/>
                    </a:lnTo>
                    <a:lnTo>
                      <a:pt x="690" y="525"/>
                    </a:lnTo>
                    <a:lnTo>
                      <a:pt x="696" y="521"/>
                    </a:lnTo>
                    <a:lnTo>
                      <a:pt x="703" y="515"/>
                    </a:lnTo>
                    <a:lnTo>
                      <a:pt x="707" y="507"/>
                    </a:lnTo>
                    <a:lnTo>
                      <a:pt x="709" y="497"/>
                    </a:lnTo>
                    <a:lnTo>
                      <a:pt x="707" y="484"/>
                    </a:lnTo>
                    <a:lnTo>
                      <a:pt x="705" y="472"/>
                    </a:lnTo>
                    <a:lnTo>
                      <a:pt x="703" y="462"/>
                    </a:lnTo>
                    <a:lnTo>
                      <a:pt x="701" y="453"/>
                    </a:lnTo>
                    <a:lnTo>
                      <a:pt x="696" y="443"/>
                    </a:lnTo>
                    <a:lnTo>
                      <a:pt x="691" y="434"/>
                    </a:lnTo>
                    <a:lnTo>
                      <a:pt x="685" y="426"/>
                    </a:lnTo>
                    <a:lnTo>
                      <a:pt x="680" y="419"/>
                    </a:lnTo>
                    <a:lnTo>
                      <a:pt x="676" y="415"/>
                    </a:lnTo>
                    <a:lnTo>
                      <a:pt x="672" y="414"/>
                    </a:lnTo>
                    <a:lnTo>
                      <a:pt x="670" y="415"/>
                    </a:lnTo>
                    <a:lnTo>
                      <a:pt x="669" y="415"/>
                    </a:lnTo>
                    <a:lnTo>
                      <a:pt x="667" y="416"/>
                    </a:lnTo>
                    <a:lnTo>
                      <a:pt x="664" y="416"/>
                    </a:lnTo>
                    <a:lnTo>
                      <a:pt x="662" y="412"/>
                    </a:lnTo>
                    <a:lnTo>
                      <a:pt x="659" y="404"/>
                    </a:lnTo>
                    <a:lnTo>
                      <a:pt x="657" y="397"/>
                    </a:lnTo>
                    <a:lnTo>
                      <a:pt x="655" y="393"/>
                    </a:lnTo>
                    <a:lnTo>
                      <a:pt x="651" y="391"/>
                    </a:lnTo>
                    <a:close/>
                    <a:moveTo>
                      <a:pt x="630" y="184"/>
                    </a:moveTo>
                    <a:lnTo>
                      <a:pt x="624" y="185"/>
                    </a:lnTo>
                    <a:lnTo>
                      <a:pt x="622" y="187"/>
                    </a:lnTo>
                    <a:lnTo>
                      <a:pt x="622" y="193"/>
                    </a:lnTo>
                    <a:lnTo>
                      <a:pt x="624" y="201"/>
                    </a:lnTo>
                    <a:lnTo>
                      <a:pt x="628" y="209"/>
                    </a:lnTo>
                    <a:lnTo>
                      <a:pt x="632" y="217"/>
                    </a:lnTo>
                    <a:lnTo>
                      <a:pt x="635" y="225"/>
                    </a:lnTo>
                    <a:lnTo>
                      <a:pt x="638" y="230"/>
                    </a:lnTo>
                    <a:lnTo>
                      <a:pt x="639" y="232"/>
                    </a:lnTo>
                    <a:lnTo>
                      <a:pt x="639" y="235"/>
                    </a:lnTo>
                    <a:lnTo>
                      <a:pt x="637" y="236"/>
                    </a:lnTo>
                    <a:lnTo>
                      <a:pt x="636" y="237"/>
                    </a:lnTo>
                    <a:lnTo>
                      <a:pt x="631" y="237"/>
                    </a:lnTo>
                    <a:lnTo>
                      <a:pt x="625" y="240"/>
                    </a:lnTo>
                    <a:lnTo>
                      <a:pt x="622" y="245"/>
                    </a:lnTo>
                    <a:lnTo>
                      <a:pt x="621" y="254"/>
                    </a:lnTo>
                    <a:lnTo>
                      <a:pt x="621" y="264"/>
                    </a:lnTo>
                    <a:lnTo>
                      <a:pt x="623" y="274"/>
                    </a:lnTo>
                    <a:lnTo>
                      <a:pt x="625" y="283"/>
                    </a:lnTo>
                    <a:lnTo>
                      <a:pt x="628" y="286"/>
                    </a:lnTo>
                    <a:lnTo>
                      <a:pt x="632" y="285"/>
                    </a:lnTo>
                    <a:lnTo>
                      <a:pt x="637" y="281"/>
                    </a:lnTo>
                    <a:lnTo>
                      <a:pt x="642" y="276"/>
                    </a:lnTo>
                    <a:lnTo>
                      <a:pt x="646" y="271"/>
                    </a:lnTo>
                    <a:lnTo>
                      <a:pt x="650" y="267"/>
                    </a:lnTo>
                    <a:lnTo>
                      <a:pt x="652" y="264"/>
                    </a:lnTo>
                    <a:lnTo>
                      <a:pt x="654" y="264"/>
                    </a:lnTo>
                    <a:lnTo>
                      <a:pt x="659" y="268"/>
                    </a:lnTo>
                    <a:lnTo>
                      <a:pt x="665" y="274"/>
                    </a:lnTo>
                    <a:lnTo>
                      <a:pt x="677" y="288"/>
                    </a:lnTo>
                    <a:lnTo>
                      <a:pt x="680" y="294"/>
                    </a:lnTo>
                    <a:lnTo>
                      <a:pt x="678" y="298"/>
                    </a:lnTo>
                    <a:lnTo>
                      <a:pt x="672" y="302"/>
                    </a:lnTo>
                    <a:lnTo>
                      <a:pt x="665" y="304"/>
                    </a:lnTo>
                    <a:lnTo>
                      <a:pt x="656" y="306"/>
                    </a:lnTo>
                    <a:lnTo>
                      <a:pt x="649" y="307"/>
                    </a:lnTo>
                    <a:lnTo>
                      <a:pt x="642" y="308"/>
                    </a:lnTo>
                    <a:lnTo>
                      <a:pt x="638" y="309"/>
                    </a:lnTo>
                    <a:lnTo>
                      <a:pt x="635" y="311"/>
                    </a:lnTo>
                    <a:lnTo>
                      <a:pt x="635" y="315"/>
                    </a:lnTo>
                    <a:lnTo>
                      <a:pt x="637" y="320"/>
                    </a:lnTo>
                    <a:lnTo>
                      <a:pt x="640" y="326"/>
                    </a:lnTo>
                    <a:lnTo>
                      <a:pt x="643" y="329"/>
                    </a:lnTo>
                    <a:lnTo>
                      <a:pt x="648" y="330"/>
                    </a:lnTo>
                    <a:lnTo>
                      <a:pt x="659" y="328"/>
                    </a:lnTo>
                    <a:lnTo>
                      <a:pt x="663" y="327"/>
                    </a:lnTo>
                    <a:lnTo>
                      <a:pt x="667" y="324"/>
                    </a:lnTo>
                    <a:lnTo>
                      <a:pt x="674" y="318"/>
                    </a:lnTo>
                    <a:lnTo>
                      <a:pt x="680" y="312"/>
                    </a:lnTo>
                    <a:lnTo>
                      <a:pt x="687" y="305"/>
                    </a:lnTo>
                    <a:lnTo>
                      <a:pt x="691" y="300"/>
                    </a:lnTo>
                    <a:lnTo>
                      <a:pt x="696" y="297"/>
                    </a:lnTo>
                    <a:lnTo>
                      <a:pt x="706" y="297"/>
                    </a:lnTo>
                    <a:lnTo>
                      <a:pt x="709" y="294"/>
                    </a:lnTo>
                    <a:lnTo>
                      <a:pt x="708" y="289"/>
                    </a:lnTo>
                    <a:lnTo>
                      <a:pt x="704" y="283"/>
                    </a:lnTo>
                    <a:lnTo>
                      <a:pt x="686" y="259"/>
                    </a:lnTo>
                    <a:lnTo>
                      <a:pt x="685" y="252"/>
                    </a:lnTo>
                    <a:lnTo>
                      <a:pt x="689" y="245"/>
                    </a:lnTo>
                    <a:lnTo>
                      <a:pt x="695" y="239"/>
                    </a:lnTo>
                    <a:lnTo>
                      <a:pt x="701" y="234"/>
                    </a:lnTo>
                    <a:lnTo>
                      <a:pt x="706" y="231"/>
                    </a:lnTo>
                    <a:lnTo>
                      <a:pt x="706" y="228"/>
                    </a:lnTo>
                    <a:lnTo>
                      <a:pt x="702" y="225"/>
                    </a:lnTo>
                    <a:lnTo>
                      <a:pt x="690" y="221"/>
                    </a:lnTo>
                    <a:lnTo>
                      <a:pt x="685" y="220"/>
                    </a:lnTo>
                    <a:lnTo>
                      <a:pt x="682" y="218"/>
                    </a:lnTo>
                    <a:lnTo>
                      <a:pt x="679" y="213"/>
                    </a:lnTo>
                    <a:lnTo>
                      <a:pt x="677" y="207"/>
                    </a:lnTo>
                    <a:lnTo>
                      <a:pt x="674" y="200"/>
                    </a:lnTo>
                    <a:lnTo>
                      <a:pt x="672" y="194"/>
                    </a:lnTo>
                    <a:lnTo>
                      <a:pt x="667" y="190"/>
                    </a:lnTo>
                    <a:lnTo>
                      <a:pt x="659" y="188"/>
                    </a:lnTo>
                    <a:lnTo>
                      <a:pt x="650" y="186"/>
                    </a:lnTo>
                    <a:lnTo>
                      <a:pt x="630" y="184"/>
                    </a:lnTo>
                    <a:close/>
                    <a:moveTo>
                      <a:pt x="233" y="0"/>
                    </a:moveTo>
                    <a:lnTo>
                      <a:pt x="301" y="0"/>
                    </a:lnTo>
                    <a:lnTo>
                      <a:pt x="375" y="1"/>
                    </a:lnTo>
                    <a:lnTo>
                      <a:pt x="457" y="2"/>
                    </a:lnTo>
                    <a:lnTo>
                      <a:pt x="546" y="4"/>
                    </a:lnTo>
                    <a:lnTo>
                      <a:pt x="642" y="6"/>
                    </a:lnTo>
                    <a:lnTo>
                      <a:pt x="743" y="9"/>
                    </a:lnTo>
                    <a:lnTo>
                      <a:pt x="852" y="13"/>
                    </a:lnTo>
                    <a:lnTo>
                      <a:pt x="968" y="19"/>
                    </a:lnTo>
                    <a:lnTo>
                      <a:pt x="899" y="1148"/>
                    </a:lnTo>
                    <a:lnTo>
                      <a:pt x="887" y="1142"/>
                    </a:lnTo>
                    <a:lnTo>
                      <a:pt x="877" y="1140"/>
                    </a:lnTo>
                    <a:lnTo>
                      <a:pt x="859" y="1136"/>
                    </a:lnTo>
                    <a:lnTo>
                      <a:pt x="853" y="1134"/>
                    </a:lnTo>
                    <a:lnTo>
                      <a:pt x="850" y="1130"/>
                    </a:lnTo>
                    <a:lnTo>
                      <a:pt x="842" y="1114"/>
                    </a:lnTo>
                    <a:lnTo>
                      <a:pt x="835" y="1103"/>
                    </a:lnTo>
                    <a:lnTo>
                      <a:pt x="827" y="1091"/>
                    </a:lnTo>
                    <a:lnTo>
                      <a:pt x="820" y="1080"/>
                    </a:lnTo>
                    <a:lnTo>
                      <a:pt x="812" y="1071"/>
                    </a:lnTo>
                    <a:lnTo>
                      <a:pt x="805" y="1062"/>
                    </a:lnTo>
                    <a:lnTo>
                      <a:pt x="802" y="1051"/>
                    </a:lnTo>
                    <a:lnTo>
                      <a:pt x="802" y="1041"/>
                    </a:lnTo>
                    <a:lnTo>
                      <a:pt x="804" y="1030"/>
                    </a:lnTo>
                    <a:lnTo>
                      <a:pt x="808" y="1019"/>
                    </a:lnTo>
                    <a:lnTo>
                      <a:pt x="809" y="1011"/>
                    </a:lnTo>
                    <a:lnTo>
                      <a:pt x="807" y="999"/>
                    </a:lnTo>
                    <a:lnTo>
                      <a:pt x="803" y="985"/>
                    </a:lnTo>
                    <a:lnTo>
                      <a:pt x="797" y="970"/>
                    </a:lnTo>
                    <a:lnTo>
                      <a:pt x="783" y="940"/>
                    </a:lnTo>
                    <a:lnTo>
                      <a:pt x="777" y="928"/>
                    </a:lnTo>
                    <a:lnTo>
                      <a:pt x="772" y="919"/>
                    </a:lnTo>
                    <a:lnTo>
                      <a:pt x="768" y="913"/>
                    </a:lnTo>
                    <a:lnTo>
                      <a:pt x="764" y="905"/>
                    </a:lnTo>
                    <a:lnTo>
                      <a:pt x="764" y="899"/>
                    </a:lnTo>
                    <a:lnTo>
                      <a:pt x="767" y="892"/>
                    </a:lnTo>
                    <a:lnTo>
                      <a:pt x="771" y="887"/>
                    </a:lnTo>
                    <a:lnTo>
                      <a:pt x="771" y="885"/>
                    </a:lnTo>
                    <a:lnTo>
                      <a:pt x="768" y="885"/>
                    </a:lnTo>
                    <a:lnTo>
                      <a:pt x="762" y="886"/>
                    </a:lnTo>
                    <a:lnTo>
                      <a:pt x="746" y="890"/>
                    </a:lnTo>
                    <a:lnTo>
                      <a:pt x="737" y="892"/>
                    </a:lnTo>
                    <a:lnTo>
                      <a:pt x="731" y="894"/>
                    </a:lnTo>
                    <a:lnTo>
                      <a:pt x="726" y="896"/>
                    </a:lnTo>
                    <a:lnTo>
                      <a:pt x="714" y="900"/>
                    </a:lnTo>
                    <a:lnTo>
                      <a:pt x="702" y="900"/>
                    </a:lnTo>
                    <a:lnTo>
                      <a:pt x="698" y="897"/>
                    </a:lnTo>
                    <a:lnTo>
                      <a:pt x="696" y="892"/>
                    </a:lnTo>
                    <a:lnTo>
                      <a:pt x="697" y="885"/>
                    </a:lnTo>
                    <a:lnTo>
                      <a:pt x="702" y="876"/>
                    </a:lnTo>
                    <a:lnTo>
                      <a:pt x="708" y="868"/>
                    </a:lnTo>
                    <a:lnTo>
                      <a:pt x="715" y="859"/>
                    </a:lnTo>
                    <a:lnTo>
                      <a:pt x="722" y="852"/>
                    </a:lnTo>
                    <a:lnTo>
                      <a:pt x="728" y="847"/>
                    </a:lnTo>
                    <a:lnTo>
                      <a:pt x="731" y="842"/>
                    </a:lnTo>
                    <a:lnTo>
                      <a:pt x="730" y="837"/>
                    </a:lnTo>
                    <a:lnTo>
                      <a:pt x="727" y="831"/>
                    </a:lnTo>
                    <a:lnTo>
                      <a:pt x="723" y="826"/>
                    </a:lnTo>
                    <a:lnTo>
                      <a:pt x="718" y="822"/>
                    </a:lnTo>
                    <a:lnTo>
                      <a:pt x="714" y="819"/>
                    </a:lnTo>
                    <a:lnTo>
                      <a:pt x="710" y="814"/>
                    </a:lnTo>
                    <a:lnTo>
                      <a:pt x="706" y="806"/>
                    </a:lnTo>
                    <a:lnTo>
                      <a:pt x="702" y="796"/>
                    </a:lnTo>
                    <a:lnTo>
                      <a:pt x="697" y="784"/>
                    </a:lnTo>
                    <a:lnTo>
                      <a:pt x="691" y="774"/>
                    </a:lnTo>
                    <a:lnTo>
                      <a:pt x="687" y="770"/>
                    </a:lnTo>
                    <a:lnTo>
                      <a:pt x="684" y="769"/>
                    </a:lnTo>
                    <a:lnTo>
                      <a:pt x="682" y="772"/>
                    </a:lnTo>
                    <a:lnTo>
                      <a:pt x="681" y="778"/>
                    </a:lnTo>
                    <a:lnTo>
                      <a:pt x="680" y="785"/>
                    </a:lnTo>
                    <a:lnTo>
                      <a:pt x="678" y="793"/>
                    </a:lnTo>
                    <a:lnTo>
                      <a:pt x="676" y="800"/>
                    </a:lnTo>
                    <a:lnTo>
                      <a:pt x="673" y="810"/>
                    </a:lnTo>
                    <a:lnTo>
                      <a:pt x="669" y="821"/>
                    </a:lnTo>
                    <a:lnTo>
                      <a:pt x="666" y="832"/>
                    </a:lnTo>
                    <a:lnTo>
                      <a:pt x="663" y="843"/>
                    </a:lnTo>
                    <a:lnTo>
                      <a:pt x="661" y="852"/>
                    </a:lnTo>
                    <a:lnTo>
                      <a:pt x="659" y="857"/>
                    </a:lnTo>
                    <a:lnTo>
                      <a:pt x="656" y="859"/>
                    </a:lnTo>
                    <a:lnTo>
                      <a:pt x="652" y="858"/>
                    </a:lnTo>
                    <a:lnTo>
                      <a:pt x="639" y="856"/>
                    </a:lnTo>
                    <a:lnTo>
                      <a:pt x="632" y="856"/>
                    </a:lnTo>
                    <a:lnTo>
                      <a:pt x="626" y="858"/>
                    </a:lnTo>
                    <a:lnTo>
                      <a:pt x="616" y="865"/>
                    </a:lnTo>
                    <a:lnTo>
                      <a:pt x="606" y="869"/>
                    </a:lnTo>
                    <a:lnTo>
                      <a:pt x="596" y="870"/>
                    </a:lnTo>
                    <a:lnTo>
                      <a:pt x="593" y="868"/>
                    </a:lnTo>
                    <a:lnTo>
                      <a:pt x="592" y="864"/>
                    </a:lnTo>
                    <a:lnTo>
                      <a:pt x="594" y="859"/>
                    </a:lnTo>
                    <a:lnTo>
                      <a:pt x="596" y="852"/>
                    </a:lnTo>
                    <a:lnTo>
                      <a:pt x="599" y="846"/>
                    </a:lnTo>
                    <a:lnTo>
                      <a:pt x="603" y="841"/>
                    </a:lnTo>
                    <a:lnTo>
                      <a:pt x="608" y="837"/>
                    </a:lnTo>
                    <a:lnTo>
                      <a:pt x="614" y="835"/>
                    </a:lnTo>
                    <a:lnTo>
                      <a:pt x="621" y="834"/>
                    </a:lnTo>
                    <a:lnTo>
                      <a:pt x="631" y="834"/>
                    </a:lnTo>
                    <a:lnTo>
                      <a:pt x="637" y="832"/>
                    </a:lnTo>
                    <a:lnTo>
                      <a:pt x="641" y="827"/>
                    </a:lnTo>
                    <a:lnTo>
                      <a:pt x="644" y="819"/>
                    </a:lnTo>
                    <a:lnTo>
                      <a:pt x="646" y="809"/>
                    </a:lnTo>
                    <a:lnTo>
                      <a:pt x="647" y="797"/>
                    </a:lnTo>
                    <a:lnTo>
                      <a:pt x="649" y="785"/>
                    </a:lnTo>
                    <a:lnTo>
                      <a:pt x="651" y="774"/>
                    </a:lnTo>
                    <a:lnTo>
                      <a:pt x="653" y="759"/>
                    </a:lnTo>
                    <a:lnTo>
                      <a:pt x="656" y="745"/>
                    </a:lnTo>
                    <a:lnTo>
                      <a:pt x="660" y="733"/>
                    </a:lnTo>
                    <a:lnTo>
                      <a:pt x="665" y="725"/>
                    </a:lnTo>
                    <a:lnTo>
                      <a:pt x="679" y="711"/>
                    </a:lnTo>
                    <a:lnTo>
                      <a:pt x="682" y="703"/>
                    </a:lnTo>
                    <a:lnTo>
                      <a:pt x="681" y="697"/>
                    </a:lnTo>
                    <a:lnTo>
                      <a:pt x="677" y="689"/>
                    </a:lnTo>
                    <a:lnTo>
                      <a:pt x="676" y="682"/>
                    </a:lnTo>
                    <a:lnTo>
                      <a:pt x="676" y="674"/>
                    </a:lnTo>
                    <a:lnTo>
                      <a:pt x="678" y="667"/>
                    </a:lnTo>
                    <a:lnTo>
                      <a:pt x="683" y="657"/>
                    </a:lnTo>
                    <a:lnTo>
                      <a:pt x="683" y="650"/>
                    </a:lnTo>
                    <a:lnTo>
                      <a:pt x="682" y="642"/>
                    </a:lnTo>
                    <a:lnTo>
                      <a:pt x="680" y="634"/>
                    </a:lnTo>
                    <a:lnTo>
                      <a:pt x="677" y="627"/>
                    </a:lnTo>
                    <a:lnTo>
                      <a:pt x="675" y="623"/>
                    </a:lnTo>
                    <a:lnTo>
                      <a:pt x="674" y="621"/>
                    </a:lnTo>
                    <a:lnTo>
                      <a:pt x="673" y="625"/>
                    </a:lnTo>
                    <a:lnTo>
                      <a:pt x="672" y="631"/>
                    </a:lnTo>
                    <a:lnTo>
                      <a:pt x="670" y="640"/>
                    </a:lnTo>
                    <a:lnTo>
                      <a:pt x="667" y="649"/>
                    </a:lnTo>
                    <a:lnTo>
                      <a:pt x="659" y="664"/>
                    </a:lnTo>
                    <a:lnTo>
                      <a:pt x="640" y="694"/>
                    </a:lnTo>
                    <a:lnTo>
                      <a:pt x="633" y="702"/>
                    </a:lnTo>
                    <a:lnTo>
                      <a:pt x="623" y="710"/>
                    </a:lnTo>
                    <a:lnTo>
                      <a:pt x="597" y="728"/>
                    </a:lnTo>
                    <a:lnTo>
                      <a:pt x="583" y="734"/>
                    </a:lnTo>
                    <a:lnTo>
                      <a:pt x="572" y="740"/>
                    </a:lnTo>
                    <a:lnTo>
                      <a:pt x="565" y="746"/>
                    </a:lnTo>
                    <a:lnTo>
                      <a:pt x="559" y="754"/>
                    </a:lnTo>
                    <a:lnTo>
                      <a:pt x="555" y="764"/>
                    </a:lnTo>
                    <a:lnTo>
                      <a:pt x="550" y="773"/>
                    </a:lnTo>
                    <a:lnTo>
                      <a:pt x="546" y="782"/>
                    </a:lnTo>
                    <a:lnTo>
                      <a:pt x="539" y="788"/>
                    </a:lnTo>
                    <a:lnTo>
                      <a:pt x="532" y="793"/>
                    </a:lnTo>
                    <a:lnTo>
                      <a:pt x="530" y="799"/>
                    </a:lnTo>
                    <a:lnTo>
                      <a:pt x="529" y="806"/>
                    </a:lnTo>
                    <a:lnTo>
                      <a:pt x="530" y="813"/>
                    </a:lnTo>
                    <a:lnTo>
                      <a:pt x="531" y="822"/>
                    </a:lnTo>
                    <a:lnTo>
                      <a:pt x="530" y="828"/>
                    </a:lnTo>
                    <a:lnTo>
                      <a:pt x="528" y="831"/>
                    </a:lnTo>
                    <a:lnTo>
                      <a:pt x="524" y="831"/>
                    </a:lnTo>
                    <a:lnTo>
                      <a:pt x="509" y="826"/>
                    </a:lnTo>
                    <a:lnTo>
                      <a:pt x="502" y="820"/>
                    </a:lnTo>
                    <a:lnTo>
                      <a:pt x="496" y="809"/>
                    </a:lnTo>
                    <a:lnTo>
                      <a:pt x="491" y="796"/>
                    </a:lnTo>
                    <a:lnTo>
                      <a:pt x="489" y="784"/>
                    </a:lnTo>
                    <a:lnTo>
                      <a:pt x="487" y="774"/>
                    </a:lnTo>
                    <a:lnTo>
                      <a:pt x="484" y="766"/>
                    </a:lnTo>
                    <a:lnTo>
                      <a:pt x="480" y="759"/>
                    </a:lnTo>
                    <a:lnTo>
                      <a:pt x="478" y="753"/>
                    </a:lnTo>
                    <a:lnTo>
                      <a:pt x="476" y="748"/>
                    </a:lnTo>
                    <a:lnTo>
                      <a:pt x="471" y="741"/>
                    </a:lnTo>
                    <a:lnTo>
                      <a:pt x="465" y="733"/>
                    </a:lnTo>
                    <a:lnTo>
                      <a:pt x="458" y="726"/>
                    </a:lnTo>
                    <a:lnTo>
                      <a:pt x="450" y="719"/>
                    </a:lnTo>
                    <a:lnTo>
                      <a:pt x="445" y="713"/>
                    </a:lnTo>
                    <a:lnTo>
                      <a:pt x="437" y="697"/>
                    </a:lnTo>
                    <a:lnTo>
                      <a:pt x="434" y="689"/>
                    </a:lnTo>
                    <a:lnTo>
                      <a:pt x="430" y="683"/>
                    </a:lnTo>
                    <a:lnTo>
                      <a:pt x="425" y="681"/>
                    </a:lnTo>
                    <a:lnTo>
                      <a:pt x="419" y="679"/>
                    </a:lnTo>
                    <a:lnTo>
                      <a:pt x="414" y="674"/>
                    </a:lnTo>
                    <a:lnTo>
                      <a:pt x="409" y="667"/>
                    </a:lnTo>
                    <a:lnTo>
                      <a:pt x="403" y="659"/>
                    </a:lnTo>
                    <a:lnTo>
                      <a:pt x="396" y="652"/>
                    </a:lnTo>
                    <a:lnTo>
                      <a:pt x="388" y="646"/>
                    </a:lnTo>
                    <a:lnTo>
                      <a:pt x="383" y="641"/>
                    </a:lnTo>
                    <a:lnTo>
                      <a:pt x="383" y="635"/>
                    </a:lnTo>
                    <a:lnTo>
                      <a:pt x="386" y="628"/>
                    </a:lnTo>
                    <a:lnTo>
                      <a:pt x="396" y="615"/>
                    </a:lnTo>
                    <a:lnTo>
                      <a:pt x="397" y="610"/>
                    </a:lnTo>
                    <a:lnTo>
                      <a:pt x="394" y="606"/>
                    </a:lnTo>
                    <a:lnTo>
                      <a:pt x="387" y="601"/>
                    </a:lnTo>
                    <a:lnTo>
                      <a:pt x="378" y="593"/>
                    </a:lnTo>
                    <a:lnTo>
                      <a:pt x="368" y="586"/>
                    </a:lnTo>
                    <a:lnTo>
                      <a:pt x="360" y="584"/>
                    </a:lnTo>
                    <a:lnTo>
                      <a:pt x="351" y="583"/>
                    </a:lnTo>
                    <a:lnTo>
                      <a:pt x="340" y="584"/>
                    </a:lnTo>
                    <a:lnTo>
                      <a:pt x="328" y="584"/>
                    </a:lnTo>
                    <a:lnTo>
                      <a:pt x="318" y="582"/>
                    </a:lnTo>
                    <a:lnTo>
                      <a:pt x="313" y="579"/>
                    </a:lnTo>
                    <a:lnTo>
                      <a:pt x="308" y="574"/>
                    </a:lnTo>
                    <a:lnTo>
                      <a:pt x="306" y="569"/>
                    </a:lnTo>
                    <a:lnTo>
                      <a:pt x="303" y="565"/>
                    </a:lnTo>
                    <a:lnTo>
                      <a:pt x="300" y="562"/>
                    </a:lnTo>
                    <a:lnTo>
                      <a:pt x="292" y="560"/>
                    </a:lnTo>
                    <a:lnTo>
                      <a:pt x="281" y="559"/>
                    </a:lnTo>
                    <a:lnTo>
                      <a:pt x="270" y="560"/>
                    </a:lnTo>
                    <a:lnTo>
                      <a:pt x="259" y="560"/>
                    </a:lnTo>
                    <a:lnTo>
                      <a:pt x="253" y="558"/>
                    </a:lnTo>
                    <a:lnTo>
                      <a:pt x="244" y="554"/>
                    </a:lnTo>
                    <a:lnTo>
                      <a:pt x="233" y="547"/>
                    </a:lnTo>
                    <a:lnTo>
                      <a:pt x="221" y="539"/>
                    </a:lnTo>
                    <a:lnTo>
                      <a:pt x="208" y="531"/>
                    </a:lnTo>
                    <a:lnTo>
                      <a:pt x="197" y="524"/>
                    </a:lnTo>
                    <a:lnTo>
                      <a:pt x="187" y="519"/>
                    </a:lnTo>
                    <a:lnTo>
                      <a:pt x="179" y="515"/>
                    </a:lnTo>
                    <a:lnTo>
                      <a:pt x="167" y="513"/>
                    </a:lnTo>
                    <a:lnTo>
                      <a:pt x="156" y="515"/>
                    </a:lnTo>
                    <a:lnTo>
                      <a:pt x="146" y="519"/>
                    </a:lnTo>
                    <a:lnTo>
                      <a:pt x="136" y="522"/>
                    </a:lnTo>
                    <a:lnTo>
                      <a:pt x="127" y="523"/>
                    </a:lnTo>
                    <a:lnTo>
                      <a:pt x="114" y="525"/>
                    </a:lnTo>
                    <a:lnTo>
                      <a:pt x="99" y="526"/>
                    </a:lnTo>
                    <a:lnTo>
                      <a:pt x="66" y="526"/>
                    </a:lnTo>
                    <a:lnTo>
                      <a:pt x="40" y="528"/>
                    </a:lnTo>
                    <a:lnTo>
                      <a:pt x="17" y="533"/>
                    </a:lnTo>
                    <a:lnTo>
                      <a:pt x="0" y="4"/>
                    </a:lnTo>
                    <a:lnTo>
                      <a:pt x="32" y="3"/>
                    </a:lnTo>
                    <a:lnTo>
                      <a:pt x="71" y="2"/>
                    </a:lnTo>
                    <a:lnTo>
                      <a:pt x="118" y="1"/>
                    </a:lnTo>
                    <a:lnTo>
                      <a:pt x="171" y="1"/>
                    </a:lnTo>
                    <a:lnTo>
                      <a:pt x="233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9" name="Freeform 8"/>
              <p:cNvSpPr>
                <a:spLocks/>
              </p:cNvSpPr>
              <p:nvPr/>
            </p:nvSpPr>
            <p:spPr bwMode="auto">
              <a:xfrm>
                <a:off x="6761163" y="1381125"/>
                <a:ext cx="1933575" cy="2813050"/>
              </a:xfrm>
              <a:custGeom>
                <a:avLst/>
                <a:gdLst/>
                <a:ahLst/>
                <a:cxnLst>
                  <a:cxn ang="0">
                    <a:pos x="471" y="37"/>
                  </a:cxn>
                  <a:cxn ang="0">
                    <a:pos x="488" y="112"/>
                  </a:cxn>
                  <a:cxn ang="0">
                    <a:pos x="495" y="153"/>
                  </a:cxn>
                  <a:cxn ang="0">
                    <a:pos x="524" y="200"/>
                  </a:cxn>
                  <a:cxn ang="0">
                    <a:pos x="531" y="241"/>
                  </a:cxn>
                  <a:cxn ang="0">
                    <a:pos x="537" y="329"/>
                  </a:cxn>
                  <a:cxn ang="0">
                    <a:pos x="571" y="368"/>
                  </a:cxn>
                  <a:cxn ang="0">
                    <a:pos x="601" y="358"/>
                  </a:cxn>
                  <a:cxn ang="0">
                    <a:pos x="620" y="368"/>
                  </a:cxn>
                  <a:cxn ang="0">
                    <a:pos x="677" y="422"/>
                  </a:cxn>
                  <a:cxn ang="0">
                    <a:pos x="666" y="488"/>
                  </a:cxn>
                  <a:cxn ang="0">
                    <a:pos x="675" y="566"/>
                  </a:cxn>
                  <a:cxn ang="0">
                    <a:pos x="712" y="639"/>
                  </a:cxn>
                  <a:cxn ang="0">
                    <a:pos x="715" y="711"/>
                  </a:cxn>
                  <a:cxn ang="0">
                    <a:pos x="734" y="754"/>
                  </a:cxn>
                  <a:cxn ang="0">
                    <a:pos x="746" y="817"/>
                  </a:cxn>
                  <a:cxn ang="0">
                    <a:pos x="781" y="838"/>
                  </a:cxn>
                  <a:cxn ang="0">
                    <a:pos x="828" y="861"/>
                  </a:cxn>
                  <a:cxn ang="0">
                    <a:pos x="850" y="898"/>
                  </a:cxn>
                  <a:cxn ang="0">
                    <a:pos x="902" y="944"/>
                  </a:cxn>
                  <a:cxn ang="0">
                    <a:pos x="917" y="984"/>
                  </a:cxn>
                  <a:cxn ang="0">
                    <a:pos x="960" y="1050"/>
                  </a:cxn>
                  <a:cxn ang="0">
                    <a:pos x="968" y="1134"/>
                  </a:cxn>
                  <a:cxn ang="0">
                    <a:pos x="995" y="1159"/>
                  </a:cxn>
                  <a:cxn ang="0">
                    <a:pos x="1020" y="1162"/>
                  </a:cxn>
                  <a:cxn ang="0">
                    <a:pos x="1049" y="1172"/>
                  </a:cxn>
                  <a:cxn ang="0">
                    <a:pos x="1062" y="1174"/>
                  </a:cxn>
                  <a:cxn ang="0">
                    <a:pos x="1065" y="1259"/>
                  </a:cxn>
                  <a:cxn ang="0">
                    <a:pos x="1093" y="1295"/>
                  </a:cxn>
                  <a:cxn ang="0">
                    <a:pos x="1146" y="1368"/>
                  </a:cxn>
                  <a:cxn ang="0">
                    <a:pos x="1195" y="1449"/>
                  </a:cxn>
                  <a:cxn ang="0">
                    <a:pos x="1218" y="1515"/>
                  </a:cxn>
                  <a:cxn ang="0">
                    <a:pos x="1201" y="1584"/>
                  </a:cxn>
                  <a:cxn ang="0">
                    <a:pos x="1203" y="1639"/>
                  </a:cxn>
                  <a:cxn ang="0">
                    <a:pos x="1213" y="1714"/>
                  </a:cxn>
                  <a:cxn ang="0">
                    <a:pos x="1103" y="1723"/>
                  </a:cxn>
                  <a:cxn ang="0">
                    <a:pos x="1070" y="1754"/>
                  </a:cxn>
                  <a:cxn ang="0">
                    <a:pos x="1025" y="1770"/>
                  </a:cxn>
                  <a:cxn ang="0">
                    <a:pos x="984" y="1725"/>
                  </a:cxn>
                  <a:cxn ang="0">
                    <a:pos x="927" y="1716"/>
                  </a:cxn>
                  <a:cxn ang="0">
                    <a:pos x="882" y="1725"/>
                  </a:cxn>
                  <a:cxn ang="0">
                    <a:pos x="823" y="1735"/>
                  </a:cxn>
                  <a:cxn ang="0">
                    <a:pos x="590" y="1710"/>
                  </a:cxn>
                  <a:cxn ang="0">
                    <a:pos x="242" y="1680"/>
                  </a:cxn>
                  <a:cxn ang="0">
                    <a:pos x="41" y="552"/>
                  </a:cxn>
                  <a:cxn ang="0">
                    <a:pos x="121" y="593"/>
                  </a:cxn>
                  <a:cxn ang="0">
                    <a:pos x="162" y="633"/>
                  </a:cxn>
                  <a:cxn ang="0">
                    <a:pos x="237" y="635"/>
                  </a:cxn>
                  <a:cxn ang="0">
                    <a:pos x="289" y="578"/>
                  </a:cxn>
                  <a:cxn ang="0">
                    <a:pos x="318" y="507"/>
                  </a:cxn>
                  <a:cxn ang="0">
                    <a:pos x="349" y="416"/>
                  </a:cxn>
                  <a:cxn ang="0">
                    <a:pos x="342" y="341"/>
                  </a:cxn>
                  <a:cxn ang="0">
                    <a:pos x="359" y="231"/>
                  </a:cxn>
                  <a:cxn ang="0">
                    <a:pos x="367" y="178"/>
                  </a:cxn>
                  <a:cxn ang="0">
                    <a:pos x="389" y="118"/>
                  </a:cxn>
                  <a:cxn ang="0">
                    <a:pos x="426" y="33"/>
                  </a:cxn>
                </a:cxnLst>
                <a:rect l="0" t="0" r="r" b="b"/>
                <a:pathLst>
                  <a:path w="1218" h="1772">
                    <a:moveTo>
                      <a:pt x="451" y="0"/>
                    </a:moveTo>
                    <a:lnTo>
                      <a:pt x="454" y="1"/>
                    </a:lnTo>
                    <a:lnTo>
                      <a:pt x="457" y="6"/>
                    </a:lnTo>
                    <a:lnTo>
                      <a:pt x="460" y="14"/>
                    </a:lnTo>
                    <a:lnTo>
                      <a:pt x="463" y="23"/>
                    </a:lnTo>
                    <a:lnTo>
                      <a:pt x="467" y="31"/>
                    </a:lnTo>
                    <a:lnTo>
                      <a:pt x="471" y="37"/>
                    </a:lnTo>
                    <a:lnTo>
                      <a:pt x="475" y="45"/>
                    </a:lnTo>
                    <a:lnTo>
                      <a:pt x="477" y="56"/>
                    </a:lnTo>
                    <a:lnTo>
                      <a:pt x="479" y="69"/>
                    </a:lnTo>
                    <a:lnTo>
                      <a:pt x="480" y="83"/>
                    </a:lnTo>
                    <a:lnTo>
                      <a:pt x="481" y="95"/>
                    </a:lnTo>
                    <a:lnTo>
                      <a:pt x="483" y="103"/>
                    </a:lnTo>
                    <a:lnTo>
                      <a:pt x="488" y="112"/>
                    </a:lnTo>
                    <a:lnTo>
                      <a:pt x="494" y="121"/>
                    </a:lnTo>
                    <a:lnTo>
                      <a:pt x="501" y="128"/>
                    </a:lnTo>
                    <a:lnTo>
                      <a:pt x="507" y="132"/>
                    </a:lnTo>
                    <a:lnTo>
                      <a:pt x="509" y="135"/>
                    </a:lnTo>
                    <a:lnTo>
                      <a:pt x="509" y="139"/>
                    </a:lnTo>
                    <a:lnTo>
                      <a:pt x="505" y="144"/>
                    </a:lnTo>
                    <a:lnTo>
                      <a:pt x="495" y="153"/>
                    </a:lnTo>
                    <a:lnTo>
                      <a:pt x="493" y="158"/>
                    </a:lnTo>
                    <a:lnTo>
                      <a:pt x="494" y="162"/>
                    </a:lnTo>
                    <a:lnTo>
                      <a:pt x="499" y="167"/>
                    </a:lnTo>
                    <a:lnTo>
                      <a:pt x="510" y="175"/>
                    </a:lnTo>
                    <a:lnTo>
                      <a:pt x="517" y="182"/>
                    </a:lnTo>
                    <a:lnTo>
                      <a:pt x="522" y="190"/>
                    </a:lnTo>
                    <a:lnTo>
                      <a:pt x="524" y="200"/>
                    </a:lnTo>
                    <a:lnTo>
                      <a:pt x="523" y="208"/>
                    </a:lnTo>
                    <a:lnTo>
                      <a:pt x="521" y="215"/>
                    </a:lnTo>
                    <a:lnTo>
                      <a:pt x="520" y="221"/>
                    </a:lnTo>
                    <a:lnTo>
                      <a:pt x="522" y="227"/>
                    </a:lnTo>
                    <a:lnTo>
                      <a:pt x="528" y="232"/>
                    </a:lnTo>
                    <a:lnTo>
                      <a:pt x="531" y="236"/>
                    </a:lnTo>
                    <a:lnTo>
                      <a:pt x="531" y="241"/>
                    </a:lnTo>
                    <a:lnTo>
                      <a:pt x="529" y="246"/>
                    </a:lnTo>
                    <a:lnTo>
                      <a:pt x="528" y="251"/>
                    </a:lnTo>
                    <a:lnTo>
                      <a:pt x="529" y="256"/>
                    </a:lnTo>
                    <a:lnTo>
                      <a:pt x="531" y="262"/>
                    </a:lnTo>
                    <a:lnTo>
                      <a:pt x="533" y="273"/>
                    </a:lnTo>
                    <a:lnTo>
                      <a:pt x="536" y="318"/>
                    </a:lnTo>
                    <a:lnTo>
                      <a:pt x="537" y="329"/>
                    </a:lnTo>
                    <a:lnTo>
                      <a:pt x="538" y="337"/>
                    </a:lnTo>
                    <a:lnTo>
                      <a:pt x="541" y="349"/>
                    </a:lnTo>
                    <a:lnTo>
                      <a:pt x="547" y="361"/>
                    </a:lnTo>
                    <a:lnTo>
                      <a:pt x="556" y="371"/>
                    </a:lnTo>
                    <a:lnTo>
                      <a:pt x="562" y="374"/>
                    </a:lnTo>
                    <a:lnTo>
                      <a:pt x="567" y="373"/>
                    </a:lnTo>
                    <a:lnTo>
                      <a:pt x="571" y="368"/>
                    </a:lnTo>
                    <a:lnTo>
                      <a:pt x="574" y="363"/>
                    </a:lnTo>
                    <a:lnTo>
                      <a:pt x="577" y="358"/>
                    </a:lnTo>
                    <a:lnTo>
                      <a:pt x="581" y="353"/>
                    </a:lnTo>
                    <a:lnTo>
                      <a:pt x="584" y="353"/>
                    </a:lnTo>
                    <a:lnTo>
                      <a:pt x="589" y="354"/>
                    </a:lnTo>
                    <a:lnTo>
                      <a:pt x="595" y="357"/>
                    </a:lnTo>
                    <a:lnTo>
                      <a:pt x="601" y="358"/>
                    </a:lnTo>
                    <a:lnTo>
                      <a:pt x="604" y="358"/>
                    </a:lnTo>
                    <a:lnTo>
                      <a:pt x="607" y="357"/>
                    </a:lnTo>
                    <a:lnTo>
                      <a:pt x="611" y="355"/>
                    </a:lnTo>
                    <a:lnTo>
                      <a:pt x="614" y="355"/>
                    </a:lnTo>
                    <a:lnTo>
                      <a:pt x="616" y="358"/>
                    </a:lnTo>
                    <a:lnTo>
                      <a:pt x="618" y="362"/>
                    </a:lnTo>
                    <a:lnTo>
                      <a:pt x="620" y="368"/>
                    </a:lnTo>
                    <a:lnTo>
                      <a:pt x="624" y="374"/>
                    </a:lnTo>
                    <a:lnTo>
                      <a:pt x="632" y="384"/>
                    </a:lnTo>
                    <a:lnTo>
                      <a:pt x="654" y="406"/>
                    </a:lnTo>
                    <a:lnTo>
                      <a:pt x="662" y="410"/>
                    </a:lnTo>
                    <a:lnTo>
                      <a:pt x="670" y="413"/>
                    </a:lnTo>
                    <a:lnTo>
                      <a:pt x="676" y="418"/>
                    </a:lnTo>
                    <a:lnTo>
                      <a:pt x="677" y="422"/>
                    </a:lnTo>
                    <a:lnTo>
                      <a:pt x="676" y="428"/>
                    </a:lnTo>
                    <a:lnTo>
                      <a:pt x="670" y="444"/>
                    </a:lnTo>
                    <a:lnTo>
                      <a:pt x="666" y="452"/>
                    </a:lnTo>
                    <a:lnTo>
                      <a:pt x="663" y="461"/>
                    </a:lnTo>
                    <a:lnTo>
                      <a:pt x="662" y="467"/>
                    </a:lnTo>
                    <a:lnTo>
                      <a:pt x="663" y="476"/>
                    </a:lnTo>
                    <a:lnTo>
                      <a:pt x="666" y="488"/>
                    </a:lnTo>
                    <a:lnTo>
                      <a:pt x="670" y="499"/>
                    </a:lnTo>
                    <a:lnTo>
                      <a:pt x="673" y="511"/>
                    </a:lnTo>
                    <a:lnTo>
                      <a:pt x="677" y="526"/>
                    </a:lnTo>
                    <a:lnTo>
                      <a:pt x="677" y="538"/>
                    </a:lnTo>
                    <a:lnTo>
                      <a:pt x="672" y="550"/>
                    </a:lnTo>
                    <a:lnTo>
                      <a:pt x="672" y="557"/>
                    </a:lnTo>
                    <a:lnTo>
                      <a:pt x="675" y="566"/>
                    </a:lnTo>
                    <a:lnTo>
                      <a:pt x="678" y="577"/>
                    </a:lnTo>
                    <a:lnTo>
                      <a:pt x="684" y="589"/>
                    </a:lnTo>
                    <a:lnTo>
                      <a:pt x="690" y="598"/>
                    </a:lnTo>
                    <a:lnTo>
                      <a:pt x="695" y="605"/>
                    </a:lnTo>
                    <a:lnTo>
                      <a:pt x="701" y="615"/>
                    </a:lnTo>
                    <a:lnTo>
                      <a:pt x="706" y="627"/>
                    </a:lnTo>
                    <a:lnTo>
                      <a:pt x="712" y="639"/>
                    </a:lnTo>
                    <a:lnTo>
                      <a:pt x="717" y="650"/>
                    </a:lnTo>
                    <a:lnTo>
                      <a:pt x="720" y="660"/>
                    </a:lnTo>
                    <a:lnTo>
                      <a:pt x="722" y="667"/>
                    </a:lnTo>
                    <a:lnTo>
                      <a:pt x="722" y="676"/>
                    </a:lnTo>
                    <a:lnTo>
                      <a:pt x="720" y="688"/>
                    </a:lnTo>
                    <a:lnTo>
                      <a:pt x="717" y="700"/>
                    </a:lnTo>
                    <a:lnTo>
                      <a:pt x="715" y="711"/>
                    </a:lnTo>
                    <a:lnTo>
                      <a:pt x="713" y="718"/>
                    </a:lnTo>
                    <a:lnTo>
                      <a:pt x="712" y="724"/>
                    </a:lnTo>
                    <a:lnTo>
                      <a:pt x="714" y="729"/>
                    </a:lnTo>
                    <a:lnTo>
                      <a:pt x="718" y="734"/>
                    </a:lnTo>
                    <a:lnTo>
                      <a:pt x="726" y="739"/>
                    </a:lnTo>
                    <a:lnTo>
                      <a:pt x="731" y="745"/>
                    </a:lnTo>
                    <a:lnTo>
                      <a:pt x="734" y="754"/>
                    </a:lnTo>
                    <a:lnTo>
                      <a:pt x="734" y="765"/>
                    </a:lnTo>
                    <a:lnTo>
                      <a:pt x="732" y="776"/>
                    </a:lnTo>
                    <a:lnTo>
                      <a:pt x="731" y="789"/>
                    </a:lnTo>
                    <a:lnTo>
                      <a:pt x="732" y="798"/>
                    </a:lnTo>
                    <a:lnTo>
                      <a:pt x="736" y="806"/>
                    </a:lnTo>
                    <a:lnTo>
                      <a:pt x="741" y="812"/>
                    </a:lnTo>
                    <a:lnTo>
                      <a:pt x="746" y="817"/>
                    </a:lnTo>
                    <a:lnTo>
                      <a:pt x="751" y="821"/>
                    </a:lnTo>
                    <a:lnTo>
                      <a:pt x="754" y="825"/>
                    </a:lnTo>
                    <a:lnTo>
                      <a:pt x="759" y="830"/>
                    </a:lnTo>
                    <a:lnTo>
                      <a:pt x="765" y="834"/>
                    </a:lnTo>
                    <a:lnTo>
                      <a:pt x="772" y="837"/>
                    </a:lnTo>
                    <a:lnTo>
                      <a:pt x="778" y="838"/>
                    </a:lnTo>
                    <a:lnTo>
                      <a:pt x="781" y="838"/>
                    </a:lnTo>
                    <a:lnTo>
                      <a:pt x="785" y="842"/>
                    </a:lnTo>
                    <a:lnTo>
                      <a:pt x="789" y="848"/>
                    </a:lnTo>
                    <a:lnTo>
                      <a:pt x="792" y="853"/>
                    </a:lnTo>
                    <a:lnTo>
                      <a:pt x="799" y="858"/>
                    </a:lnTo>
                    <a:lnTo>
                      <a:pt x="807" y="859"/>
                    </a:lnTo>
                    <a:lnTo>
                      <a:pt x="824" y="859"/>
                    </a:lnTo>
                    <a:lnTo>
                      <a:pt x="828" y="861"/>
                    </a:lnTo>
                    <a:lnTo>
                      <a:pt x="830" y="865"/>
                    </a:lnTo>
                    <a:lnTo>
                      <a:pt x="830" y="877"/>
                    </a:lnTo>
                    <a:lnTo>
                      <a:pt x="831" y="884"/>
                    </a:lnTo>
                    <a:lnTo>
                      <a:pt x="834" y="889"/>
                    </a:lnTo>
                    <a:lnTo>
                      <a:pt x="839" y="893"/>
                    </a:lnTo>
                    <a:lnTo>
                      <a:pt x="844" y="895"/>
                    </a:lnTo>
                    <a:lnTo>
                      <a:pt x="850" y="898"/>
                    </a:lnTo>
                    <a:lnTo>
                      <a:pt x="855" y="902"/>
                    </a:lnTo>
                    <a:lnTo>
                      <a:pt x="868" y="915"/>
                    </a:lnTo>
                    <a:lnTo>
                      <a:pt x="877" y="922"/>
                    </a:lnTo>
                    <a:lnTo>
                      <a:pt x="884" y="929"/>
                    </a:lnTo>
                    <a:lnTo>
                      <a:pt x="890" y="936"/>
                    </a:lnTo>
                    <a:lnTo>
                      <a:pt x="895" y="941"/>
                    </a:lnTo>
                    <a:lnTo>
                      <a:pt x="902" y="944"/>
                    </a:lnTo>
                    <a:lnTo>
                      <a:pt x="908" y="946"/>
                    </a:lnTo>
                    <a:lnTo>
                      <a:pt x="916" y="952"/>
                    </a:lnTo>
                    <a:lnTo>
                      <a:pt x="921" y="960"/>
                    </a:lnTo>
                    <a:lnTo>
                      <a:pt x="922" y="967"/>
                    </a:lnTo>
                    <a:lnTo>
                      <a:pt x="920" y="974"/>
                    </a:lnTo>
                    <a:lnTo>
                      <a:pt x="917" y="979"/>
                    </a:lnTo>
                    <a:lnTo>
                      <a:pt x="917" y="984"/>
                    </a:lnTo>
                    <a:lnTo>
                      <a:pt x="920" y="991"/>
                    </a:lnTo>
                    <a:lnTo>
                      <a:pt x="925" y="999"/>
                    </a:lnTo>
                    <a:lnTo>
                      <a:pt x="938" y="1017"/>
                    </a:lnTo>
                    <a:lnTo>
                      <a:pt x="944" y="1024"/>
                    </a:lnTo>
                    <a:lnTo>
                      <a:pt x="949" y="1030"/>
                    </a:lnTo>
                    <a:lnTo>
                      <a:pt x="954" y="1038"/>
                    </a:lnTo>
                    <a:lnTo>
                      <a:pt x="960" y="1050"/>
                    </a:lnTo>
                    <a:lnTo>
                      <a:pt x="968" y="1074"/>
                    </a:lnTo>
                    <a:lnTo>
                      <a:pt x="970" y="1082"/>
                    </a:lnTo>
                    <a:lnTo>
                      <a:pt x="971" y="1090"/>
                    </a:lnTo>
                    <a:lnTo>
                      <a:pt x="970" y="1101"/>
                    </a:lnTo>
                    <a:lnTo>
                      <a:pt x="970" y="1113"/>
                    </a:lnTo>
                    <a:lnTo>
                      <a:pt x="969" y="1125"/>
                    </a:lnTo>
                    <a:lnTo>
                      <a:pt x="968" y="1134"/>
                    </a:lnTo>
                    <a:lnTo>
                      <a:pt x="968" y="1140"/>
                    </a:lnTo>
                    <a:lnTo>
                      <a:pt x="970" y="1145"/>
                    </a:lnTo>
                    <a:lnTo>
                      <a:pt x="989" y="1164"/>
                    </a:lnTo>
                    <a:lnTo>
                      <a:pt x="994" y="1167"/>
                    </a:lnTo>
                    <a:lnTo>
                      <a:pt x="996" y="1167"/>
                    </a:lnTo>
                    <a:lnTo>
                      <a:pt x="996" y="1164"/>
                    </a:lnTo>
                    <a:lnTo>
                      <a:pt x="995" y="1159"/>
                    </a:lnTo>
                    <a:lnTo>
                      <a:pt x="995" y="1147"/>
                    </a:lnTo>
                    <a:lnTo>
                      <a:pt x="997" y="1142"/>
                    </a:lnTo>
                    <a:lnTo>
                      <a:pt x="1001" y="1140"/>
                    </a:lnTo>
                    <a:lnTo>
                      <a:pt x="1007" y="1141"/>
                    </a:lnTo>
                    <a:lnTo>
                      <a:pt x="1012" y="1145"/>
                    </a:lnTo>
                    <a:lnTo>
                      <a:pt x="1017" y="1157"/>
                    </a:lnTo>
                    <a:lnTo>
                      <a:pt x="1020" y="1162"/>
                    </a:lnTo>
                    <a:lnTo>
                      <a:pt x="1022" y="1165"/>
                    </a:lnTo>
                    <a:lnTo>
                      <a:pt x="1027" y="1168"/>
                    </a:lnTo>
                    <a:lnTo>
                      <a:pt x="1035" y="1172"/>
                    </a:lnTo>
                    <a:lnTo>
                      <a:pt x="1042" y="1176"/>
                    </a:lnTo>
                    <a:lnTo>
                      <a:pt x="1048" y="1178"/>
                    </a:lnTo>
                    <a:lnTo>
                      <a:pt x="1049" y="1176"/>
                    </a:lnTo>
                    <a:lnTo>
                      <a:pt x="1049" y="1172"/>
                    </a:lnTo>
                    <a:lnTo>
                      <a:pt x="1048" y="1166"/>
                    </a:lnTo>
                    <a:lnTo>
                      <a:pt x="1047" y="1161"/>
                    </a:lnTo>
                    <a:lnTo>
                      <a:pt x="1048" y="1157"/>
                    </a:lnTo>
                    <a:lnTo>
                      <a:pt x="1050" y="1155"/>
                    </a:lnTo>
                    <a:lnTo>
                      <a:pt x="1054" y="1158"/>
                    </a:lnTo>
                    <a:lnTo>
                      <a:pt x="1058" y="1164"/>
                    </a:lnTo>
                    <a:lnTo>
                      <a:pt x="1062" y="1174"/>
                    </a:lnTo>
                    <a:lnTo>
                      <a:pt x="1068" y="1195"/>
                    </a:lnTo>
                    <a:lnTo>
                      <a:pt x="1070" y="1205"/>
                    </a:lnTo>
                    <a:lnTo>
                      <a:pt x="1070" y="1213"/>
                    </a:lnTo>
                    <a:lnTo>
                      <a:pt x="1064" y="1231"/>
                    </a:lnTo>
                    <a:lnTo>
                      <a:pt x="1063" y="1240"/>
                    </a:lnTo>
                    <a:lnTo>
                      <a:pt x="1063" y="1251"/>
                    </a:lnTo>
                    <a:lnTo>
                      <a:pt x="1065" y="1259"/>
                    </a:lnTo>
                    <a:lnTo>
                      <a:pt x="1068" y="1263"/>
                    </a:lnTo>
                    <a:lnTo>
                      <a:pt x="1073" y="1264"/>
                    </a:lnTo>
                    <a:lnTo>
                      <a:pt x="1078" y="1266"/>
                    </a:lnTo>
                    <a:lnTo>
                      <a:pt x="1083" y="1271"/>
                    </a:lnTo>
                    <a:lnTo>
                      <a:pt x="1088" y="1278"/>
                    </a:lnTo>
                    <a:lnTo>
                      <a:pt x="1092" y="1287"/>
                    </a:lnTo>
                    <a:lnTo>
                      <a:pt x="1093" y="1295"/>
                    </a:lnTo>
                    <a:lnTo>
                      <a:pt x="1095" y="1305"/>
                    </a:lnTo>
                    <a:lnTo>
                      <a:pt x="1098" y="1312"/>
                    </a:lnTo>
                    <a:lnTo>
                      <a:pt x="1105" y="1318"/>
                    </a:lnTo>
                    <a:lnTo>
                      <a:pt x="1113" y="1324"/>
                    </a:lnTo>
                    <a:lnTo>
                      <a:pt x="1123" y="1335"/>
                    </a:lnTo>
                    <a:lnTo>
                      <a:pt x="1134" y="1350"/>
                    </a:lnTo>
                    <a:lnTo>
                      <a:pt x="1146" y="1368"/>
                    </a:lnTo>
                    <a:lnTo>
                      <a:pt x="1154" y="1379"/>
                    </a:lnTo>
                    <a:lnTo>
                      <a:pt x="1162" y="1391"/>
                    </a:lnTo>
                    <a:lnTo>
                      <a:pt x="1170" y="1403"/>
                    </a:lnTo>
                    <a:lnTo>
                      <a:pt x="1177" y="1415"/>
                    </a:lnTo>
                    <a:lnTo>
                      <a:pt x="1180" y="1426"/>
                    </a:lnTo>
                    <a:lnTo>
                      <a:pt x="1183" y="1435"/>
                    </a:lnTo>
                    <a:lnTo>
                      <a:pt x="1195" y="1449"/>
                    </a:lnTo>
                    <a:lnTo>
                      <a:pt x="1200" y="1456"/>
                    </a:lnTo>
                    <a:lnTo>
                      <a:pt x="1202" y="1465"/>
                    </a:lnTo>
                    <a:lnTo>
                      <a:pt x="1204" y="1476"/>
                    </a:lnTo>
                    <a:lnTo>
                      <a:pt x="1207" y="1488"/>
                    </a:lnTo>
                    <a:lnTo>
                      <a:pt x="1212" y="1498"/>
                    </a:lnTo>
                    <a:lnTo>
                      <a:pt x="1216" y="1508"/>
                    </a:lnTo>
                    <a:lnTo>
                      <a:pt x="1218" y="1515"/>
                    </a:lnTo>
                    <a:lnTo>
                      <a:pt x="1216" y="1521"/>
                    </a:lnTo>
                    <a:lnTo>
                      <a:pt x="1212" y="1529"/>
                    </a:lnTo>
                    <a:lnTo>
                      <a:pt x="1206" y="1539"/>
                    </a:lnTo>
                    <a:lnTo>
                      <a:pt x="1201" y="1550"/>
                    </a:lnTo>
                    <a:lnTo>
                      <a:pt x="1198" y="1561"/>
                    </a:lnTo>
                    <a:lnTo>
                      <a:pt x="1199" y="1574"/>
                    </a:lnTo>
                    <a:lnTo>
                      <a:pt x="1201" y="1584"/>
                    </a:lnTo>
                    <a:lnTo>
                      <a:pt x="1204" y="1592"/>
                    </a:lnTo>
                    <a:lnTo>
                      <a:pt x="1206" y="1598"/>
                    </a:lnTo>
                    <a:lnTo>
                      <a:pt x="1207" y="1604"/>
                    </a:lnTo>
                    <a:lnTo>
                      <a:pt x="1206" y="1612"/>
                    </a:lnTo>
                    <a:lnTo>
                      <a:pt x="1205" y="1622"/>
                    </a:lnTo>
                    <a:lnTo>
                      <a:pt x="1204" y="1631"/>
                    </a:lnTo>
                    <a:lnTo>
                      <a:pt x="1203" y="1639"/>
                    </a:lnTo>
                    <a:lnTo>
                      <a:pt x="1204" y="1648"/>
                    </a:lnTo>
                    <a:lnTo>
                      <a:pt x="1207" y="1659"/>
                    </a:lnTo>
                    <a:lnTo>
                      <a:pt x="1211" y="1671"/>
                    </a:lnTo>
                    <a:lnTo>
                      <a:pt x="1213" y="1683"/>
                    </a:lnTo>
                    <a:lnTo>
                      <a:pt x="1214" y="1690"/>
                    </a:lnTo>
                    <a:lnTo>
                      <a:pt x="1214" y="1700"/>
                    </a:lnTo>
                    <a:lnTo>
                      <a:pt x="1213" y="1714"/>
                    </a:lnTo>
                    <a:lnTo>
                      <a:pt x="1199" y="1714"/>
                    </a:lnTo>
                    <a:lnTo>
                      <a:pt x="1182" y="1713"/>
                    </a:lnTo>
                    <a:lnTo>
                      <a:pt x="1165" y="1712"/>
                    </a:lnTo>
                    <a:lnTo>
                      <a:pt x="1134" y="1712"/>
                    </a:lnTo>
                    <a:lnTo>
                      <a:pt x="1123" y="1713"/>
                    </a:lnTo>
                    <a:lnTo>
                      <a:pt x="1112" y="1717"/>
                    </a:lnTo>
                    <a:lnTo>
                      <a:pt x="1103" y="1723"/>
                    </a:lnTo>
                    <a:lnTo>
                      <a:pt x="1096" y="1730"/>
                    </a:lnTo>
                    <a:lnTo>
                      <a:pt x="1093" y="1737"/>
                    </a:lnTo>
                    <a:lnTo>
                      <a:pt x="1091" y="1744"/>
                    </a:lnTo>
                    <a:lnTo>
                      <a:pt x="1088" y="1749"/>
                    </a:lnTo>
                    <a:lnTo>
                      <a:pt x="1083" y="1751"/>
                    </a:lnTo>
                    <a:lnTo>
                      <a:pt x="1077" y="1753"/>
                    </a:lnTo>
                    <a:lnTo>
                      <a:pt x="1070" y="1754"/>
                    </a:lnTo>
                    <a:lnTo>
                      <a:pt x="1065" y="1755"/>
                    </a:lnTo>
                    <a:lnTo>
                      <a:pt x="1059" y="1757"/>
                    </a:lnTo>
                    <a:lnTo>
                      <a:pt x="1050" y="1761"/>
                    </a:lnTo>
                    <a:lnTo>
                      <a:pt x="1041" y="1766"/>
                    </a:lnTo>
                    <a:lnTo>
                      <a:pt x="1033" y="1770"/>
                    </a:lnTo>
                    <a:lnTo>
                      <a:pt x="1028" y="1772"/>
                    </a:lnTo>
                    <a:lnTo>
                      <a:pt x="1025" y="1770"/>
                    </a:lnTo>
                    <a:lnTo>
                      <a:pt x="1020" y="1765"/>
                    </a:lnTo>
                    <a:lnTo>
                      <a:pt x="1014" y="1757"/>
                    </a:lnTo>
                    <a:lnTo>
                      <a:pt x="1003" y="1739"/>
                    </a:lnTo>
                    <a:lnTo>
                      <a:pt x="999" y="1731"/>
                    </a:lnTo>
                    <a:lnTo>
                      <a:pt x="995" y="1727"/>
                    </a:lnTo>
                    <a:lnTo>
                      <a:pt x="990" y="1725"/>
                    </a:lnTo>
                    <a:lnTo>
                      <a:pt x="984" y="1725"/>
                    </a:lnTo>
                    <a:lnTo>
                      <a:pt x="970" y="1729"/>
                    </a:lnTo>
                    <a:lnTo>
                      <a:pt x="965" y="1732"/>
                    </a:lnTo>
                    <a:lnTo>
                      <a:pt x="960" y="1732"/>
                    </a:lnTo>
                    <a:lnTo>
                      <a:pt x="952" y="1729"/>
                    </a:lnTo>
                    <a:lnTo>
                      <a:pt x="944" y="1725"/>
                    </a:lnTo>
                    <a:lnTo>
                      <a:pt x="935" y="1720"/>
                    </a:lnTo>
                    <a:lnTo>
                      <a:pt x="927" y="1716"/>
                    </a:lnTo>
                    <a:lnTo>
                      <a:pt x="921" y="1713"/>
                    </a:lnTo>
                    <a:lnTo>
                      <a:pt x="914" y="1713"/>
                    </a:lnTo>
                    <a:lnTo>
                      <a:pt x="907" y="1716"/>
                    </a:lnTo>
                    <a:lnTo>
                      <a:pt x="895" y="1726"/>
                    </a:lnTo>
                    <a:lnTo>
                      <a:pt x="891" y="1728"/>
                    </a:lnTo>
                    <a:lnTo>
                      <a:pt x="887" y="1728"/>
                    </a:lnTo>
                    <a:lnTo>
                      <a:pt x="882" y="1725"/>
                    </a:lnTo>
                    <a:lnTo>
                      <a:pt x="874" y="1722"/>
                    </a:lnTo>
                    <a:lnTo>
                      <a:pt x="867" y="1722"/>
                    </a:lnTo>
                    <a:lnTo>
                      <a:pt x="858" y="1724"/>
                    </a:lnTo>
                    <a:lnTo>
                      <a:pt x="843" y="1732"/>
                    </a:lnTo>
                    <a:lnTo>
                      <a:pt x="838" y="1736"/>
                    </a:lnTo>
                    <a:lnTo>
                      <a:pt x="836" y="1737"/>
                    </a:lnTo>
                    <a:lnTo>
                      <a:pt x="823" y="1735"/>
                    </a:lnTo>
                    <a:lnTo>
                      <a:pt x="803" y="1732"/>
                    </a:lnTo>
                    <a:lnTo>
                      <a:pt x="777" y="1729"/>
                    </a:lnTo>
                    <a:lnTo>
                      <a:pt x="747" y="1726"/>
                    </a:lnTo>
                    <a:lnTo>
                      <a:pt x="712" y="1722"/>
                    </a:lnTo>
                    <a:lnTo>
                      <a:pt x="674" y="1718"/>
                    </a:lnTo>
                    <a:lnTo>
                      <a:pt x="632" y="1714"/>
                    </a:lnTo>
                    <a:lnTo>
                      <a:pt x="590" y="1710"/>
                    </a:lnTo>
                    <a:lnTo>
                      <a:pt x="501" y="1702"/>
                    </a:lnTo>
                    <a:lnTo>
                      <a:pt x="414" y="1695"/>
                    </a:lnTo>
                    <a:lnTo>
                      <a:pt x="372" y="1691"/>
                    </a:lnTo>
                    <a:lnTo>
                      <a:pt x="335" y="1688"/>
                    </a:lnTo>
                    <a:lnTo>
                      <a:pt x="299" y="1685"/>
                    </a:lnTo>
                    <a:lnTo>
                      <a:pt x="268" y="1682"/>
                    </a:lnTo>
                    <a:lnTo>
                      <a:pt x="242" y="1680"/>
                    </a:lnTo>
                    <a:lnTo>
                      <a:pt x="222" y="1678"/>
                    </a:lnTo>
                    <a:lnTo>
                      <a:pt x="239" y="1404"/>
                    </a:lnTo>
                    <a:lnTo>
                      <a:pt x="156" y="1400"/>
                    </a:lnTo>
                    <a:lnTo>
                      <a:pt x="76" y="1396"/>
                    </a:lnTo>
                    <a:lnTo>
                      <a:pt x="0" y="1393"/>
                    </a:lnTo>
                    <a:lnTo>
                      <a:pt x="30" y="546"/>
                    </a:lnTo>
                    <a:lnTo>
                      <a:pt x="41" y="552"/>
                    </a:lnTo>
                    <a:lnTo>
                      <a:pt x="55" y="557"/>
                    </a:lnTo>
                    <a:lnTo>
                      <a:pt x="70" y="561"/>
                    </a:lnTo>
                    <a:lnTo>
                      <a:pt x="86" y="565"/>
                    </a:lnTo>
                    <a:lnTo>
                      <a:pt x="98" y="569"/>
                    </a:lnTo>
                    <a:lnTo>
                      <a:pt x="108" y="575"/>
                    </a:lnTo>
                    <a:lnTo>
                      <a:pt x="117" y="585"/>
                    </a:lnTo>
                    <a:lnTo>
                      <a:pt x="121" y="593"/>
                    </a:lnTo>
                    <a:lnTo>
                      <a:pt x="122" y="600"/>
                    </a:lnTo>
                    <a:lnTo>
                      <a:pt x="122" y="606"/>
                    </a:lnTo>
                    <a:lnTo>
                      <a:pt x="124" y="610"/>
                    </a:lnTo>
                    <a:lnTo>
                      <a:pt x="131" y="615"/>
                    </a:lnTo>
                    <a:lnTo>
                      <a:pt x="140" y="620"/>
                    </a:lnTo>
                    <a:lnTo>
                      <a:pt x="150" y="627"/>
                    </a:lnTo>
                    <a:lnTo>
                      <a:pt x="162" y="633"/>
                    </a:lnTo>
                    <a:lnTo>
                      <a:pt x="172" y="639"/>
                    </a:lnTo>
                    <a:lnTo>
                      <a:pt x="179" y="644"/>
                    </a:lnTo>
                    <a:lnTo>
                      <a:pt x="187" y="647"/>
                    </a:lnTo>
                    <a:lnTo>
                      <a:pt x="196" y="648"/>
                    </a:lnTo>
                    <a:lnTo>
                      <a:pt x="207" y="646"/>
                    </a:lnTo>
                    <a:lnTo>
                      <a:pt x="217" y="643"/>
                    </a:lnTo>
                    <a:lnTo>
                      <a:pt x="237" y="635"/>
                    </a:lnTo>
                    <a:lnTo>
                      <a:pt x="244" y="631"/>
                    </a:lnTo>
                    <a:lnTo>
                      <a:pt x="253" y="627"/>
                    </a:lnTo>
                    <a:lnTo>
                      <a:pt x="260" y="622"/>
                    </a:lnTo>
                    <a:lnTo>
                      <a:pt x="268" y="615"/>
                    </a:lnTo>
                    <a:lnTo>
                      <a:pt x="276" y="605"/>
                    </a:lnTo>
                    <a:lnTo>
                      <a:pt x="283" y="590"/>
                    </a:lnTo>
                    <a:lnTo>
                      <a:pt x="289" y="578"/>
                    </a:lnTo>
                    <a:lnTo>
                      <a:pt x="295" y="568"/>
                    </a:lnTo>
                    <a:lnTo>
                      <a:pt x="301" y="562"/>
                    </a:lnTo>
                    <a:lnTo>
                      <a:pt x="306" y="556"/>
                    </a:lnTo>
                    <a:lnTo>
                      <a:pt x="309" y="548"/>
                    </a:lnTo>
                    <a:lnTo>
                      <a:pt x="310" y="538"/>
                    </a:lnTo>
                    <a:lnTo>
                      <a:pt x="312" y="521"/>
                    </a:lnTo>
                    <a:lnTo>
                      <a:pt x="318" y="507"/>
                    </a:lnTo>
                    <a:lnTo>
                      <a:pt x="328" y="487"/>
                    </a:lnTo>
                    <a:lnTo>
                      <a:pt x="330" y="480"/>
                    </a:lnTo>
                    <a:lnTo>
                      <a:pt x="331" y="471"/>
                    </a:lnTo>
                    <a:lnTo>
                      <a:pt x="333" y="460"/>
                    </a:lnTo>
                    <a:lnTo>
                      <a:pt x="337" y="447"/>
                    </a:lnTo>
                    <a:lnTo>
                      <a:pt x="343" y="431"/>
                    </a:lnTo>
                    <a:lnTo>
                      <a:pt x="349" y="416"/>
                    </a:lnTo>
                    <a:lnTo>
                      <a:pt x="351" y="401"/>
                    </a:lnTo>
                    <a:lnTo>
                      <a:pt x="351" y="386"/>
                    </a:lnTo>
                    <a:lnTo>
                      <a:pt x="349" y="372"/>
                    </a:lnTo>
                    <a:lnTo>
                      <a:pt x="346" y="362"/>
                    </a:lnTo>
                    <a:lnTo>
                      <a:pt x="343" y="357"/>
                    </a:lnTo>
                    <a:lnTo>
                      <a:pt x="342" y="349"/>
                    </a:lnTo>
                    <a:lnTo>
                      <a:pt x="342" y="341"/>
                    </a:lnTo>
                    <a:lnTo>
                      <a:pt x="345" y="333"/>
                    </a:lnTo>
                    <a:lnTo>
                      <a:pt x="347" y="326"/>
                    </a:lnTo>
                    <a:lnTo>
                      <a:pt x="348" y="316"/>
                    </a:lnTo>
                    <a:lnTo>
                      <a:pt x="348" y="302"/>
                    </a:lnTo>
                    <a:lnTo>
                      <a:pt x="349" y="288"/>
                    </a:lnTo>
                    <a:lnTo>
                      <a:pt x="351" y="274"/>
                    </a:lnTo>
                    <a:lnTo>
                      <a:pt x="359" y="231"/>
                    </a:lnTo>
                    <a:lnTo>
                      <a:pt x="362" y="221"/>
                    </a:lnTo>
                    <a:lnTo>
                      <a:pt x="369" y="212"/>
                    </a:lnTo>
                    <a:lnTo>
                      <a:pt x="377" y="202"/>
                    </a:lnTo>
                    <a:lnTo>
                      <a:pt x="380" y="194"/>
                    </a:lnTo>
                    <a:lnTo>
                      <a:pt x="378" y="187"/>
                    </a:lnTo>
                    <a:lnTo>
                      <a:pt x="371" y="182"/>
                    </a:lnTo>
                    <a:lnTo>
                      <a:pt x="367" y="178"/>
                    </a:lnTo>
                    <a:lnTo>
                      <a:pt x="366" y="172"/>
                    </a:lnTo>
                    <a:lnTo>
                      <a:pt x="368" y="165"/>
                    </a:lnTo>
                    <a:lnTo>
                      <a:pt x="371" y="156"/>
                    </a:lnTo>
                    <a:lnTo>
                      <a:pt x="376" y="146"/>
                    </a:lnTo>
                    <a:lnTo>
                      <a:pt x="380" y="135"/>
                    </a:lnTo>
                    <a:lnTo>
                      <a:pt x="384" y="126"/>
                    </a:lnTo>
                    <a:lnTo>
                      <a:pt x="389" y="118"/>
                    </a:lnTo>
                    <a:lnTo>
                      <a:pt x="395" y="109"/>
                    </a:lnTo>
                    <a:lnTo>
                      <a:pt x="405" y="99"/>
                    </a:lnTo>
                    <a:lnTo>
                      <a:pt x="414" y="86"/>
                    </a:lnTo>
                    <a:lnTo>
                      <a:pt x="419" y="71"/>
                    </a:lnTo>
                    <a:lnTo>
                      <a:pt x="422" y="56"/>
                    </a:lnTo>
                    <a:lnTo>
                      <a:pt x="424" y="43"/>
                    </a:lnTo>
                    <a:lnTo>
                      <a:pt x="426" y="33"/>
                    </a:lnTo>
                    <a:lnTo>
                      <a:pt x="429" y="23"/>
                    </a:lnTo>
                    <a:lnTo>
                      <a:pt x="437" y="13"/>
                    </a:lnTo>
                    <a:lnTo>
                      <a:pt x="444" y="5"/>
                    </a:lnTo>
                    <a:lnTo>
                      <a:pt x="451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0" name="Freeform 9"/>
              <p:cNvSpPr>
                <a:spLocks/>
              </p:cNvSpPr>
              <p:nvPr/>
            </p:nvSpPr>
            <p:spPr bwMode="auto">
              <a:xfrm>
                <a:off x="7031038" y="4792663"/>
                <a:ext cx="1031875" cy="806450"/>
              </a:xfrm>
              <a:custGeom>
                <a:avLst/>
                <a:gdLst/>
                <a:ahLst/>
                <a:cxnLst>
                  <a:cxn ang="0">
                    <a:pos x="88" y="5"/>
                  </a:cxn>
                  <a:cxn ang="0">
                    <a:pos x="112" y="27"/>
                  </a:cxn>
                  <a:cxn ang="0">
                    <a:pos x="125" y="61"/>
                  </a:cxn>
                  <a:cxn ang="0">
                    <a:pos x="136" y="75"/>
                  </a:cxn>
                  <a:cxn ang="0">
                    <a:pos x="152" y="63"/>
                  </a:cxn>
                  <a:cxn ang="0">
                    <a:pos x="166" y="66"/>
                  </a:cxn>
                  <a:cxn ang="0">
                    <a:pos x="182" y="80"/>
                  </a:cxn>
                  <a:cxn ang="0">
                    <a:pos x="188" y="105"/>
                  </a:cxn>
                  <a:cxn ang="0">
                    <a:pos x="207" y="129"/>
                  </a:cxn>
                  <a:cxn ang="0">
                    <a:pos x="236" y="149"/>
                  </a:cxn>
                  <a:cxn ang="0">
                    <a:pos x="264" y="178"/>
                  </a:cxn>
                  <a:cxn ang="0">
                    <a:pos x="271" y="199"/>
                  </a:cxn>
                  <a:cxn ang="0">
                    <a:pos x="286" y="206"/>
                  </a:cxn>
                  <a:cxn ang="0">
                    <a:pos x="300" y="192"/>
                  </a:cxn>
                  <a:cxn ang="0">
                    <a:pos x="317" y="184"/>
                  </a:cxn>
                  <a:cxn ang="0">
                    <a:pos x="353" y="197"/>
                  </a:cxn>
                  <a:cxn ang="0">
                    <a:pos x="400" y="212"/>
                  </a:cxn>
                  <a:cxn ang="0">
                    <a:pos x="450" y="212"/>
                  </a:cxn>
                  <a:cxn ang="0">
                    <a:pos x="504" y="220"/>
                  </a:cxn>
                  <a:cxn ang="0">
                    <a:pos x="522" y="249"/>
                  </a:cxn>
                  <a:cxn ang="0">
                    <a:pos x="542" y="305"/>
                  </a:cxn>
                  <a:cxn ang="0">
                    <a:pos x="571" y="330"/>
                  </a:cxn>
                  <a:cxn ang="0">
                    <a:pos x="618" y="365"/>
                  </a:cxn>
                  <a:cxn ang="0">
                    <a:pos x="649" y="388"/>
                  </a:cxn>
                  <a:cxn ang="0">
                    <a:pos x="625" y="398"/>
                  </a:cxn>
                  <a:cxn ang="0">
                    <a:pos x="550" y="411"/>
                  </a:cxn>
                  <a:cxn ang="0">
                    <a:pos x="502" y="414"/>
                  </a:cxn>
                  <a:cxn ang="0">
                    <a:pos x="466" y="430"/>
                  </a:cxn>
                  <a:cxn ang="0">
                    <a:pos x="441" y="448"/>
                  </a:cxn>
                  <a:cxn ang="0">
                    <a:pos x="409" y="468"/>
                  </a:cxn>
                  <a:cxn ang="0">
                    <a:pos x="389" y="474"/>
                  </a:cxn>
                  <a:cxn ang="0">
                    <a:pos x="381" y="476"/>
                  </a:cxn>
                  <a:cxn ang="0">
                    <a:pos x="385" y="482"/>
                  </a:cxn>
                  <a:cxn ang="0">
                    <a:pos x="382" y="502"/>
                  </a:cxn>
                  <a:cxn ang="0">
                    <a:pos x="372" y="504"/>
                  </a:cxn>
                  <a:cxn ang="0">
                    <a:pos x="358" y="483"/>
                  </a:cxn>
                  <a:cxn ang="0">
                    <a:pos x="335" y="472"/>
                  </a:cxn>
                  <a:cxn ang="0">
                    <a:pos x="309" y="448"/>
                  </a:cxn>
                  <a:cxn ang="0">
                    <a:pos x="289" y="435"/>
                  </a:cxn>
                  <a:cxn ang="0">
                    <a:pos x="264" y="432"/>
                  </a:cxn>
                  <a:cxn ang="0">
                    <a:pos x="274" y="417"/>
                  </a:cxn>
                  <a:cxn ang="0">
                    <a:pos x="291" y="396"/>
                  </a:cxn>
                  <a:cxn ang="0">
                    <a:pos x="266" y="388"/>
                  </a:cxn>
                  <a:cxn ang="0">
                    <a:pos x="255" y="388"/>
                  </a:cxn>
                  <a:cxn ang="0">
                    <a:pos x="258" y="395"/>
                  </a:cxn>
                  <a:cxn ang="0">
                    <a:pos x="265" y="406"/>
                  </a:cxn>
                  <a:cxn ang="0">
                    <a:pos x="245" y="419"/>
                  </a:cxn>
                  <a:cxn ang="0">
                    <a:pos x="219" y="431"/>
                  </a:cxn>
                  <a:cxn ang="0">
                    <a:pos x="190" y="453"/>
                  </a:cxn>
                  <a:cxn ang="0">
                    <a:pos x="173" y="463"/>
                  </a:cxn>
                  <a:cxn ang="0">
                    <a:pos x="151" y="452"/>
                  </a:cxn>
                  <a:cxn ang="0">
                    <a:pos x="120" y="438"/>
                  </a:cxn>
                  <a:cxn ang="0">
                    <a:pos x="98" y="419"/>
                  </a:cxn>
                  <a:cxn ang="0">
                    <a:pos x="70" y="409"/>
                  </a:cxn>
                  <a:cxn ang="0">
                    <a:pos x="29" y="409"/>
                  </a:cxn>
                  <a:cxn ang="0">
                    <a:pos x="12" y="399"/>
                  </a:cxn>
                  <a:cxn ang="0">
                    <a:pos x="22" y="7"/>
                  </a:cxn>
                  <a:cxn ang="0">
                    <a:pos x="58" y="2"/>
                  </a:cxn>
                </a:cxnLst>
                <a:rect l="0" t="0" r="r" b="b"/>
                <a:pathLst>
                  <a:path w="650" h="508">
                    <a:moveTo>
                      <a:pt x="65" y="0"/>
                    </a:moveTo>
                    <a:lnTo>
                      <a:pt x="76" y="1"/>
                    </a:lnTo>
                    <a:lnTo>
                      <a:pt x="88" y="5"/>
                    </a:lnTo>
                    <a:lnTo>
                      <a:pt x="98" y="11"/>
                    </a:lnTo>
                    <a:lnTo>
                      <a:pt x="107" y="19"/>
                    </a:lnTo>
                    <a:lnTo>
                      <a:pt x="112" y="27"/>
                    </a:lnTo>
                    <a:lnTo>
                      <a:pt x="117" y="38"/>
                    </a:lnTo>
                    <a:lnTo>
                      <a:pt x="121" y="50"/>
                    </a:lnTo>
                    <a:lnTo>
                      <a:pt x="125" y="61"/>
                    </a:lnTo>
                    <a:lnTo>
                      <a:pt x="129" y="69"/>
                    </a:lnTo>
                    <a:lnTo>
                      <a:pt x="133" y="74"/>
                    </a:lnTo>
                    <a:lnTo>
                      <a:pt x="136" y="75"/>
                    </a:lnTo>
                    <a:lnTo>
                      <a:pt x="142" y="71"/>
                    </a:lnTo>
                    <a:lnTo>
                      <a:pt x="147" y="67"/>
                    </a:lnTo>
                    <a:lnTo>
                      <a:pt x="152" y="63"/>
                    </a:lnTo>
                    <a:lnTo>
                      <a:pt x="155" y="62"/>
                    </a:lnTo>
                    <a:lnTo>
                      <a:pt x="159" y="63"/>
                    </a:lnTo>
                    <a:lnTo>
                      <a:pt x="166" y="66"/>
                    </a:lnTo>
                    <a:lnTo>
                      <a:pt x="173" y="70"/>
                    </a:lnTo>
                    <a:lnTo>
                      <a:pt x="179" y="75"/>
                    </a:lnTo>
                    <a:lnTo>
                      <a:pt x="182" y="80"/>
                    </a:lnTo>
                    <a:lnTo>
                      <a:pt x="183" y="86"/>
                    </a:lnTo>
                    <a:lnTo>
                      <a:pt x="185" y="94"/>
                    </a:lnTo>
                    <a:lnTo>
                      <a:pt x="188" y="105"/>
                    </a:lnTo>
                    <a:lnTo>
                      <a:pt x="193" y="115"/>
                    </a:lnTo>
                    <a:lnTo>
                      <a:pt x="199" y="123"/>
                    </a:lnTo>
                    <a:lnTo>
                      <a:pt x="207" y="129"/>
                    </a:lnTo>
                    <a:lnTo>
                      <a:pt x="215" y="134"/>
                    </a:lnTo>
                    <a:lnTo>
                      <a:pt x="225" y="140"/>
                    </a:lnTo>
                    <a:lnTo>
                      <a:pt x="236" y="149"/>
                    </a:lnTo>
                    <a:lnTo>
                      <a:pt x="246" y="157"/>
                    </a:lnTo>
                    <a:lnTo>
                      <a:pt x="261" y="172"/>
                    </a:lnTo>
                    <a:lnTo>
                      <a:pt x="264" y="178"/>
                    </a:lnTo>
                    <a:lnTo>
                      <a:pt x="266" y="184"/>
                    </a:lnTo>
                    <a:lnTo>
                      <a:pt x="268" y="192"/>
                    </a:lnTo>
                    <a:lnTo>
                      <a:pt x="271" y="199"/>
                    </a:lnTo>
                    <a:lnTo>
                      <a:pt x="275" y="204"/>
                    </a:lnTo>
                    <a:lnTo>
                      <a:pt x="280" y="207"/>
                    </a:lnTo>
                    <a:lnTo>
                      <a:pt x="286" y="206"/>
                    </a:lnTo>
                    <a:lnTo>
                      <a:pt x="291" y="202"/>
                    </a:lnTo>
                    <a:lnTo>
                      <a:pt x="296" y="197"/>
                    </a:lnTo>
                    <a:lnTo>
                      <a:pt x="300" y="192"/>
                    </a:lnTo>
                    <a:lnTo>
                      <a:pt x="305" y="188"/>
                    </a:lnTo>
                    <a:lnTo>
                      <a:pt x="310" y="185"/>
                    </a:lnTo>
                    <a:lnTo>
                      <a:pt x="317" y="184"/>
                    </a:lnTo>
                    <a:lnTo>
                      <a:pt x="326" y="186"/>
                    </a:lnTo>
                    <a:lnTo>
                      <a:pt x="339" y="191"/>
                    </a:lnTo>
                    <a:lnTo>
                      <a:pt x="353" y="197"/>
                    </a:lnTo>
                    <a:lnTo>
                      <a:pt x="369" y="203"/>
                    </a:lnTo>
                    <a:lnTo>
                      <a:pt x="385" y="208"/>
                    </a:lnTo>
                    <a:lnTo>
                      <a:pt x="400" y="212"/>
                    </a:lnTo>
                    <a:lnTo>
                      <a:pt x="413" y="213"/>
                    </a:lnTo>
                    <a:lnTo>
                      <a:pt x="436" y="213"/>
                    </a:lnTo>
                    <a:lnTo>
                      <a:pt x="450" y="212"/>
                    </a:lnTo>
                    <a:lnTo>
                      <a:pt x="480" y="214"/>
                    </a:lnTo>
                    <a:lnTo>
                      <a:pt x="493" y="216"/>
                    </a:lnTo>
                    <a:lnTo>
                      <a:pt x="504" y="220"/>
                    </a:lnTo>
                    <a:lnTo>
                      <a:pt x="511" y="226"/>
                    </a:lnTo>
                    <a:lnTo>
                      <a:pt x="517" y="236"/>
                    </a:lnTo>
                    <a:lnTo>
                      <a:pt x="522" y="249"/>
                    </a:lnTo>
                    <a:lnTo>
                      <a:pt x="526" y="264"/>
                    </a:lnTo>
                    <a:lnTo>
                      <a:pt x="536" y="293"/>
                    </a:lnTo>
                    <a:lnTo>
                      <a:pt x="542" y="305"/>
                    </a:lnTo>
                    <a:lnTo>
                      <a:pt x="550" y="314"/>
                    </a:lnTo>
                    <a:lnTo>
                      <a:pt x="559" y="321"/>
                    </a:lnTo>
                    <a:lnTo>
                      <a:pt x="571" y="330"/>
                    </a:lnTo>
                    <a:lnTo>
                      <a:pt x="586" y="341"/>
                    </a:lnTo>
                    <a:lnTo>
                      <a:pt x="601" y="352"/>
                    </a:lnTo>
                    <a:lnTo>
                      <a:pt x="618" y="365"/>
                    </a:lnTo>
                    <a:lnTo>
                      <a:pt x="635" y="376"/>
                    </a:lnTo>
                    <a:lnTo>
                      <a:pt x="650" y="386"/>
                    </a:lnTo>
                    <a:lnTo>
                      <a:pt x="649" y="388"/>
                    </a:lnTo>
                    <a:lnTo>
                      <a:pt x="647" y="390"/>
                    </a:lnTo>
                    <a:lnTo>
                      <a:pt x="639" y="394"/>
                    </a:lnTo>
                    <a:lnTo>
                      <a:pt x="625" y="398"/>
                    </a:lnTo>
                    <a:lnTo>
                      <a:pt x="608" y="402"/>
                    </a:lnTo>
                    <a:lnTo>
                      <a:pt x="569" y="408"/>
                    </a:lnTo>
                    <a:lnTo>
                      <a:pt x="550" y="411"/>
                    </a:lnTo>
                    <a:lnTo>
                      <a:pt x="533" y="412"/>
                    </a:lnTo>
                    <a:lnTo>
                      <a:pt x="520" y="413"/>
                    </a:lnTo>
                    <a:lnTo>
                      <a:pt x="502" y="414"/>
                    </a:lnTo>
                    <a:lnTo>
                      <a:pt x="488" y="418"/>
                    </a:lnTo>
                    <a:lnTo>
                      <a:pt x="476" y="423"/>
                    </a:lnTo>
                    <a:lnTo>
                      <a:pt x="466" y="430"/>
                    </a:lnTo>
                    <a:lnTo>
                      <a:pt x="460" y="435"/>
                    </a:lnTo>
                    <a:lnTo>
                      <a:pt x="451" y="441"/>
                    </a:lnTo>
                    <a:lnTo>
                      <a:pt x="441" y="448"/>
                    </a:lnTo>
                    <a:lnTo>
                      <a:pt x="430" y="455"/>
                    </a:lnTo>
                    <a:lnTo>
                      <a:pt x="419" y="462"/>
                    </a:lnTo>
                    <a:lnTo>
                      <a:pt x="409" y="468"/>
                    </a:lnTo>
                    <a:lnTo>
                      <a:pt x="400" y="472"/>
                    </a:lnTo>
                    <a:lnTo>
                      <a:pt x="393" y="474"/>
                    </a:lnTo>
                    <a:lnTo>
                      <a:pt x="389" y="474"/>
                    </a:lnTo>
                    <a:lnTo>
                      <a:pt x="385" y="475"/>
                    </a:lnTo>
                    <a:lnTo>
                      <a:pt x="383" y="475"/>
                    </a:lnTo>
                    <a:lnTo>
                      <a:pt x="381" y="476"/>
                    </a:lnTo>
                    <a:lnTo>
                      <a:pt x="381" y="478"/>
                    </a:lnTo>
                    <a:lnTo>
                      <a:pt x="383" y="480"/>
                    </a:lnTo>
                    <a:lnTo>
                      <a:pt x="385" y="482"/>
                    </a:lnTo>
                    <a:lnTo>
                      <a:pt x="388" y="487"/>
                    </a:lnTo>
                    <a:lnTo>
                      <a:pt x="388" y="492"/>
                    </a:lnTo>
                    <a:lnTo>
                      <a:pt x="382" y="502"/>
                    </a:lnTo>
                    <a:lnTo>
                      <a:pt x="378" y="507"/>
                    </a:lnTo>
                    <a:lnTo>
                      <a:pt x="375" y="508"/>
                    </a:lnTo>
                    <a:lnTo>
                      <a:pt x="372" y="504"/>
                    </a:lnTo>
                    <a:lnTo>
                      <a:pt x="368" y="498"/>
                    </a:lnTo>
                    <a:lnTo>
                      <a:pt x="364" y="490"/>
                    </a:lnTo>
                    <a:lnTo>
                      <a:pt x="358" y="483"/>
                    </a:lnTo>
                    <a:lnTo>
                      <a:pt x="352" y="480"/>
                    </a:lnTo>
                    <a:lnTo>
                      <a:pt x="344" y="478"/>
                    </a:lnTo>
                    <a:lnTo>
                      <a:pt x="335" y="472"/>
                    </a:lnTo>
                    <a:lnTo>
                      <a:pt x="326" y="464"/>
                    </a:lnTo>
                    <a:lnTo>
                      <a:pt x="316" y="455"/>
                    </a:lnTo>
                    <a:lnTo>
                      <a:pt x="309" y="448"/>
                    </a:lnTo>
                    <a:lnTo>
                      <a:pt x="304" y="442"/>
                    </a:lnTo>
                    <a:lnTo>
                      <a:pt x="298" y="438"/>
                    </a:lnTo>
                    <a:lnTo>
                      <a:pt x="289" y="435"/>
                    </a:lnTo>
                    <a:lnTo>
                      <a:pt x="278" y="435"/>
                    </a:lnTo>
                    <a:lnTo>
                      <a:pt x="268" y="434"/>
                    </a:lnTo>
                    <a:lnTo>
                      <a:pt x="264" y="432"/>
                    </a:lnTo>
                    <a:lnTo>
                      <a:pt x="265" y="428"/>
                    </a:lnTo>
                    <a:lnTo>
                      <a:pt x="268" y="423"/>
                    </a:lnTo>
                    <a:lnTo>
                      <a:pt x="274" y="417"/>
                    </a:lnTo>
                    <a:lnTo>
                      <a:pt x="288" y="405"/>
                    </a:lnTo>
                    <a:lnTo>
                      <a:pt x="291" y="400"/>
                    </a:lnTo>
                    <a:lnTo>
                      <a:pt x="291" y="396"/>
                    </a:lnTo>
                    <a:lnTo>
                      <a:pt x="287" y="393"/>
                    </a:lnTo>
                    <a:lnTo>
                      <a:pt x="280" y="390"/>
                    </a:lnTo>
                    <a:lnTo>
                      <a:pt x="266" y="388"/>
                    </a:lnTo>
                    <a:lnTo>
                      <a:pt x="260" y="387"/>
                    </a:lnTo>
                    <a:lnTo>
                      <a:pt x="256" y="387"/>
                    </a:lnTo>
                    <a:lnTo>
                      <a:pt x="255" y="388"/>
                    </a:lnTo>
                    <a:lnTo>
                      <a:pt x="255" y="389"/>
                    </a:lnTo>
                    <a:lnTo>
                      <a:pt x="256" y="393"/>
                    </a:lnTo>
                    <a:lnTo>
                      <a:pt x="258" y="395"/>
                    </a:lnTo>
                    <a:lnTo>
                      <a:pt x="260" y="398"/>
                    </a:lnTo>
                    <a:lnTo>
                      <a:pt x="263" y="401"/>
                    </a:lnTo>
                    <a:lnTo>
                      <a:pt x="265" y="406"/>
                    </a:lnTo>
                    <a:lnTo>
                      <a:pt x="261" y="411"/>
                    </a:lnTo>
                    <a:lnTo>
                      <a:pt x="255" y="415"/>
                    </a:lnTo>
                    <a:lnTo>
                      <a:pt x="245" y="419"/>
                    </a:lnTo>
                    <a:lnTo>
                      <a:pt x="236" y="422"/>
                    </a:lnTo>
                    <a:lnTo>
                      <a:pt x="228" y="426"/>
                    </a:lnTo>
                    <a:lnTo>
                      <a:pt x="219" y="431"/>
                    </a:lnTo>
                    <a:lnTo>
                      <a:pt x="209" y="438"/>
                    </a:lnTo>
                    <a:lnTo>
                      <a:pt x="199" y="446"/>
                    </a:lnTo>
                    <a:lnTo>
                      <a:pt x="190" y="453"/>
                    </a:lnTo>
                    <a:lnTo>
                      <a:pt x="183" y="458"/>
                    </a:lnTo>
                    <a:lnTo>
                      <a:pt x="178" y="462"/>
                    </a:lnTo>
                    <a:lnTo>
                      <a:pt x="173" y="463"/>
                    </a:lnTo>
                    <a:lnTo>
                      <a:pt x="167" y="461"/>
                    </a:lnTo>
                    <a:lnTo>
                      <a:pt x="159" y="456"/>
                    </a:lnTo>
                    <a:lnTo>
                      <a:pt x="151" y="452"/>
                    </a:lnTo>
                    <a:lnTo>
                      <a:pt x="142" y="449"/>
                    </a:lnTo>
                    <a:lnTo>
                      <a:pt x="131" y="445"/>
                    </a:lnTo>
                    <a:lnTo>
                      <a:pt x="120" y="438"/>
                    </a:lnTo>
                    <a:lnTo>
                      <a:pt x="110" y="431"/>
                    </a:lnTo>
                    <a:lnTo>
                      <a:pt x="104" y="424"/>
                    </a:lnTo>
                    <a:lnTo>
                      <a:pt x="98" y="419"/>
                    </a:lnTo>
                    <a:lnTo>
                      <a:pt x="90" y="416"/>
                    </a:lnTo>
                    <a:lnTo>
                      <a:pt x="81" y="413"/>
                    </a:lnTo>
                    <a:lnTo>
                      <a:pt x="70" y="409"/>
                    </a:lnTo>
                    <a:lnTo>
                      <a:pt x="55" y="405"/>
                    </a:lnTo>
                    <a:lnTo>
                      <a:pt x="41" y="406"/>
                    </a:lnTo>
                    <a:lnTo>
                      <a:pt x="29" y="409"/>
                    </a:lnTo>
                    <a:lnTo>
                      <a:pt x="23" y="409"/>
                    </a:lnTo>
                    <a:lnTo>
                      <a:pt x="18" y="406"/>
                    </a:lnTo>
                    <a:lnTo>
                      <a:pt x="12" y="399"/>
                    </a:lnTo>
                    <a:lnTo>
                      <a:pt x="6" y="391"/>
                    </a:lnTo>
                    <a:lnTo>
                      <a:pt x="0" y="384"/>
                    </a:lnTo>
                    <a:lnTo>
                      <a:pt x="22" y="7"/>
                    </a:lnTo>
                    <a:lnTo>
                      <a:pt x="44" y="5"/>
                    </a:lnTo>
                    <a:lnTo>
                      <a:pt x="53" y="3"/>
                    </a:lnTo>
                    <a:lnTo>
                      <a:pt x="58" y="2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Freeform 10"/>
              <p:cNvSpPr>
                <a:spLocks noEditPoints="1"/>
              </p:cNvSpPr>
              <p:nvPr/>
            </p:nvSpPr>
            <p:spPr bwMode="auto">
              <a:xfrm>
                <a:off x="7065963" y="4044950"/>
                <a:ext cx="1620838" cy="1360488"/>
              </a:xfrm>
              <a:custGeom>
                <a:avLst/>
                <a:gdLst/>
                <a:ahLst/>
                <a:cxnLst>
                  <a:cxn ang="0">
                    <a:pos x="614" y="620"/>
                  </a:cxn>
                  <a:cxn ang="0">
                    <a:pos x="582" y="634"/>
                  </a:cxn>
                  <a:cxn ang="0">
                    <a:pos x="568" y="661"/>
                  </a:cxn>
                  <a:cxn ang="0">
                    <a:pos x="566" y="695"/>
                  </a:cxn>
                  <a:cxn ang="0">
                    <a:pos x="593" y="687"/>
                  </a:cxn>
                  <a:cxn ang="0">
                    <a:pos x="615" y="662"/>
                  </a:cxn>
                  <a:cxn ang="0">
                    <a:pos x="638" y="628"/>
                  </a:cxn>
                  <a:cxn ang="0">
                    <a:pos x="637" y="611"/>
                  </a:cxn>
                  <a:cxn ang="0">
                    <a:pos x="107" y="7"/>
                  </a:cxn>
                  <a:cxn ang="0">
                    <a:pos x="309" y="24"/>
                  </a:cxn>
                  <a:cxn ang="0">
                    <a:pos x="520" y="44"/>
                  </a:cxn>
                  <a:cxn ang="0">
                    <a:pos x="631" y="57"/>
                  </a:cxn>
                  <a:cxn ang="0">
                    <a:pos x="666" y="46"/>
                  </a:cxn>
                  <a:cxn ang="0">
                    <a:pos x="695" y="50"/>
                  </a:cxn>
                  <a:cxn ang="0">
                    <a:pos x="722" y="35"/>
                  </a:cxn>
                  <a:cxn ang="0">
                    <a:pos x="752" y="47"/>
                  </a:cxn>
                  <a:cxn ang="0">
                    <a:pos x="778" y="51"/>
                  </a:cxn>
                  <a:cxn ang="0">
                    <a:pos x="807" y="53"/>
                  </a:cxn>
                  <a:cxn ang="0">
                    <a:pos x="833" y="92"/>
                  </a:cxn>
                  <a:cxn ang="0">
                    <a:pos x="858" y="83"/>
                  </a:cxn>
                  <a:cxn ang="0">
                    <a:pos x="885" y="75"/>
                  </a:cxn>
                  <a:cxn ang="0">
                    <a:pos x="901" y="59"/>
                  </a:cxn>
                  <a:cxn ang="0">
                    <a:pos x="931" y="35"/>
                  </a:cxn>
                  <a:cxn ang="0">
                    <a:pos x="1007" y="36"/>
                  </a:cxn>
                  <a:cxn ang="0">
                    <a:pos x="1019" y="89"/>
                  </a:cxn>
                  <a:cxn ang="0">
                    <a:pos x="1013" y="124"/>
                  </a:cxn>
                  <a:cxn ang="0">
                    <a:pos x="982" y="182"/>
                  </a:cxn>
                  <a:cxn ang="0">
                    <a:pos x="964" y="237"/>
                  </a:cxn>
                  <a:cxn ang="0">
                    <a:pos x="951" y="292"/>
                  </a:cxn>
                  <a:cxn ang="0">
                    <a:pos x="925" y="349"/>
                  </a:cxn>
                  <a:cxn ang="0">
                    <a:pos x="895" y="386"/>
                  </a:cxn>
                  <a:cxn ang="0">
                    <a:pos x="882" y="424"/>
                  </a:cxn>
                  <a:cxn ang="0">
                    <a:pos x="853" y="442"/>
                  </a:cxn>
                  <a:cxn ang="0">
                    <a:pos x="820" y="470"/>
                  </a:cxn>
                  <a:cxn ang="0">
                    <a:pos x="789" y="502"/>
                  </a:cxn>
                  <a:cxn ang="0">
                    <a:pos x="740" y="597"/>
                  </a:cxn>
                  <a:cxn ang="0">
                    <a:pos x="722" y="637"/>
                  </a:cxn>
                  <a:cxn ang="0">
                    <a:pos x="695" y="668"/>
                  </a:cxn>
                  <a:cxn ang="0">
                    <a:pos x="673" y="700"/>
                  </a:cxn>
                  <a:cxn ang="0">
                    <a:pos x="644" y="783"/>
                  </a:cxn>
                  <a:cxn ang="0">
                    <a:pos x="639" y="827"/>
                  </a:cxn>
                  <a:cxn ang="0">
                    <a:pos x="613" y="847"/>
                  </a:cxn>
                  <a:cxn ang="0">
                    <a:pos x="549" y="801"/>
                  </a:cxn>
                  <a:cxn ang="0">
                    <a:pos x="514" y="764"/>
                  </a:cxn>
                  <a:cxn ang="0">
                    <a:pos x="489" y="697"/>
                  </a:cxn>
                  <a:cxn ang="0">
                    <a:pos x="428" y="683"/>
                  </a:cxn>
                  <a:cxn ang="0">
                    <a:pos x="363" y="679"/>
                  </a:cxn>
                  <a:cxn ang="0">
                    <a:pos x="304" y="657"/>
                  </a:cxn>
                  <a:cxn ang="0">
                    <a:pos x="278" y="663"/>
                  </a:cxn>
                  <a:cxn ang="0">
                    <a:pos x="258" y="678"/>
                  </a:cxn>
                  <a:cxn ang="0">
                    <a:pos x="244" y="655"/>
                  </a:cxn>
                  <a:cxn ang="0">
                    <a:pos x="214" y="620"/>
                  </a:cxn>
                  <a:cxn ang="0">
                    <a:pos x="177" y="594"/>
                  </a:cxn>
                  <a:cxn ang="0">
                    <a:pos x="161" y="557"/>
                  </a:cxn>
                  <a:cxn ang="0">
                    <a:pos x="144" y="537"/>
                  </a:cxn>
                  <a:cxn ang="0">
                    <a:pos x="125" y="538"/>
                  </a:cxn>
                  <a:cxn ang="0">
                    <a:pos x="107" y="540"/>
                  </a:cxn>
                  <a:cxn ang="0">
                    <a:pos x="90" y="498"/>
                  </a:cxn>
                  <a:cxn ang="0">
                    <a:pos x="54" y="472"/>
                  </a:cxn>
                  <a:cxn ang="0">
                    <a:pos x="22" y="476"/>
                  </a:cxn>
                </a:cxnLst>
                <a:rect l="0" t="0" r="r" b="b"/>
                <a:pathLst>
                  <a:path w="1021" h="857">
                    <a:moveTo>
                      <a:pt x="637" y="611"/>
                    </a:moveTo>
                    <a:lnTo>
                      <a:pt x="631" y="613"/>
                    </a:lnTo>
                    <a:lnTo>
                      <a:pt x="623" y="616"/>
                    </a:lnTo>
                    <a:lnTo>
                      <a:pt x="614" y="620"/>
                    </a:lnTo>
                    <a:lnTo>
                      <a:pt x="606" y="623"/>
                    </a:lnTo>
                    <a:lnTo>
                      <a:pt x="599" y="624"/>
                    </a:lnTo>
                    <a:lnTo>
                      <a:pt x="589" y="627"/>
                    </a:lnTo>
                    <a:lnTo>
                      <a:pt x="582" y="634"/>
                    </a:lnTo>
                    <a:lnTo>
                      <a:pt x="576" y="641"/>
                    </a:lnTo>
                    <a:lnTo>
                      <a:pt x="572" y="648"/>
                    </a:lnTo>
                    <a:lnTo>
                      <a:pt x="570" y="653"/>
                    </a:lnTo>
                    <a:lnTo>
                      <a:pt x="568" y="661"/>
                    </a:lnTo>
                    <a:lnTo>
                      <a:pt x="566" y="671"/>
                    </a:lnTo>
                    <a:lnTo>
                      <a:pt x="565" y="680"/>
                    </a:lnTo>
                    <a:lnTo>
                      <a:pt x="565" y="689"/>
                    </a:lnTo>
                    <a:lnTo>
                      <a:pt x="566" y="695"/>
                    </a:lnTo>
                    <a:lnTo>
                      <a:pt x="570" y="699"/>
                    </a:lnTo>
                    <a:lnTo>
                      <a:pt x="579" y="699"/>
                    </a:lnTo>
                    <a:lnTo>
                      <a:pt x="586" y="694"/>
                    </a:lnTo>
                    <a:lnTo>
                      <a:pt x="593" y="687"/>
                    </a:lnTo>
                    <a:lnTo>
                      <a:pt x="599" y="678"/>
                    </a:lnTo>
                    <a:lnTo>
                      <a:pt x="605" y="671"/>
                    </a:lnTo>
                    <a:lnTo>
                      <a:pt x="610" y="666"/>
                    </a:lnTo>
                    <a:lnTo>
                      <a:pt x="615" y="662"/>
                    </a:lnTo>
                    <a:lnTo>
                      <a:pt x="621" y="655"/>
                    </a:lnTo>
                    <a:lnTo>
                      <a:pt x="627" y="646"/>
                    </a:lnTo>
                    <a:lnTo>
                      <a:pt x="633" y="637"/>
                    </a:lnTo>
                    <a:lnTo>
                      <a:pt x="638" y="628"/>
                    </a:lnTo>
                    <a:lnTo>
                      <a:pt x="641" y="620"/>
                    </a:lnTo>
                    <a:lnTo>
                      <a:pt x="643" y="614"/>
                    </a:lnTo>
                    <a:lnTo>
                      <a:pt x="642" y="611"/>
                    </a:lnTo>
                    <a:lnTo>
                      <a:pt x="637" y="611"/>
                    </a:lnTo>
                    <a:close/>
                    <a:moveTo>
                      <a:pt x="30" y="0"/>
                    </a:moveTo>
                    <a:lnTo>
                      <a:pt x="50" y="2"/>
                    </a:lnTo>
                    <a:lnTo>
                      <a:pt x="76" y="4"/>
                    </a:lnTo>
                    <a:lnTo>
                      <a:pt x="107" y="7"/>
                    </a:lnTo>
                    <a:lnTo>
                      <a:pt x="143" y="10"/>
                    </a:lnTo>
                    <a:lnTo>
                      <a:pt x="180" y="13"/>
                    </a:lnTo>
                    <a:lnTo>
                      <a:pt x="222" y="17"/>
                    </a:lnTo>
                    <a:lnTo>
                      <a:pt x="309" y="24"/>
                    </a:lnTo>
                    <a:lnTo>
                      <a:pt x="398" y="32"/>
                    </a:lnTo>
                    <a:lnTo>
                      <a:pt x="440" y="36"/>
                    </a:lnTo>
                    <a:lnTo>
                      <a:pt x="482" y="40"/>
                    </a:lnTo>
                    <a:lnTo>
                      <a:pt x="520" y="44"/>
                    </a:lnTo>
                    <a:lnTo>
                      <a:pt x="555" y="48"/>
                    </a:lnTo>
                    <a:lnTo>
                      <a:pt x="585" y="51"/>
                    </a:lnTo>
                    <a:lnTo>
                      <a:pt x="611" y="54"/>
                    </a:lnTo>
                    <a:lnTo>
                      <a:pt x="631" y="57"/>
                    </a:lnTo>
                    <a:lnTo>
                      <a:pt x="644" y="59"/>
                    </a:lnTo>
                    <a:lnTo>
                      <a:pt x="646" y="58"/>
                    </a:lnTo>
                    <a:lnTo>
                      <a:pt x="651" y="54"/>
                    </a:lnTo>
                    <a:lnTo>
                      <a:pt x="666" y="46"/>
                    </a:lnTo>
                    <a:lnTo>
                      <a:pt x="675" y="44"/>
                    </a:lnTo>
                    <a:lnTo>
                      <a:pt x="682" y="44"/>
                    </a:lnTo>
                    <a:lnTo>
                      <a:pt x="690" y="47"/>
                    </a:lnTo>
                    <a:lnTo>
                      <a:pt x="695" y="50"/>
                    </a:lnTo>
                    <a:lnTo>
                      <a:pt x="699" y="50"/>
                    </a:lnTo>
                    <a:lnTo>
                      <a:pt x="703" y="48"/>
                    </a:lnTo>
                    <a:lnTo>
                      <a:pt x="715" y="38"/>
                    </a:lnTo>
                    <a:lnTo>
                      <a:pt x="722" y="35"/>
                    </a:lnTo>
                    <a:lnTo>
                      <a:pt x="729" y="35"/>
                    </a:lnTo>
                    <a:lnTo>
                      <a:pt x="735" y="38"/>
                    </a:lnTo>
                    <a:lnTo>
                      <a:pt x="743" y="42"/>
                    </a:lnTo>
                    <a:lnTo>
                      <a:pt x="752" y="47"/>
                    </a:lnTo>
                    <a:lnTo>
                      <a:pt x="760" y="51"/>
                    </a:lnTo>
                    <a:lnTo>
                      <a:pt x="768" y="54"/>
                    </a:lnTo>
                    <a:lnTo>
                      <a:pt x="773" y="54"/>
                    </a:lnTo>
                    <a:lnTo>
                      <a:pt x="778" y="51"/>
                    </a:lnTo>
                    <a:lnTo>
                      <a:pt x="792" y="47"/>
                    </a:lnTo>
                    <a:lnTo>
                      <a:pt x="798" y="47"/>
                    </a:lnTo>
                    <a:lnTo>
                      <a:pt x="803" y="49"/>
                    </a:lnTo>
                    <a:lnTo>
                      <a:pt x="807" y="53"/>
                    </a:lnTo>
                    <a:lnTo>
                      <a:pt x="811" y="61"/>
                    </a:lnTo>
                    <a:lnTo>
                      <a:pt x="822" y="79"/>
                    </a:lnTo>
                    <a:lnTo>
                      <a:pt x="828" y="87"/>
                    </a:lnTo>
                    <a:lnTo>
                      <a:pt x="833" y="92"/>
                    </a:lnTo>
                    <a:lnTo>
                      <a:pt x="836" y="94"/>
                    </a:lnTo>
                    <a:lnTo>
                      <a:pt x="841" y="92"/>
                    </a:lnTo>
                    <a:lnTo>
                      <a:pt x="849" y="88"/>
                    </a:lnTo>
                    <a:lnTo>
                      <a:pt x="858" y="83"/>
                    </a:lnTo>
                    <a:lnTo>
                      <a:pt x="867" y="79"/>
                    </a:lnTo>
                    <a:lnTo>
                      <a:pt x="873" y="77"/>
                    </a:lnTo>
                    <a:lnTo>
                      <a:pt x="878" y="76"/>
                    </a:lnTo>
                    <a:lnTo>
                      <a:pt x="885" y="75"/>
                    </a:lnTo>
                    <a:lnTo>
                      <a:pt x="891" y="73"/>
                    </a:lnTo>
                    <a:lnTo>
                      <a:pt x="896" y="71"/>
                    </a:lnTo>
                    <a:lnTo>
                      <a:pt x="899" y="66"/>
                    </a:lnTo>
                    <a:lnTo>
                      <a:pt x="901" y="59"/>
                    </a:lnTo>
                    <a:lnTo>
                      <a:pt x="904" y="52"/>
                    </a:lnTo>
                    <a:lnTo>
                      <a:pt x="911" y="45"/>
                    </a:lnTo>
                    <a:lnTo>
                      <a:pt x="920" y="39"/>
                    </a:lnTo>
                    <a:lnTo>
                      <a:pt x="931" y="35"/>
                    </a:lnTo>
                    <a:lnTo>
                      <a:pt x="942" y="34"/>
                    </a:lnTo>
                    <a:lnTo>
                      <a:pt x="973" y="34"/>
                    </a:lnTo>
                    <a:lnTo>
                      <a:pt x="990" y="35"/>
                    </a:lnTo>
                    <a:lnTo>
                      <a:pt x="1007" y="36"/>
                    </a:lnTo>
                    <a:lnTo>
                      <a:pt x="1021" y="36"/>
                    </a:lnTo>
                    <a:lnTo>
                      <a:pt x="1020" y="54"/>
                    </a:lnTo>
                    <a:lnTo>
                      <a:pt x="1020" y="73"/>
                    </a:lnTo>
                    <a:lnTo>
                      <a:pt x="1019" y="89"/>
                    </a:lnTo>
                    <a:lnTo>
                      <a:pt x="1018" y="102"/>
                    </a:lnTo>
                    <a:lnTo>
                      <a:pt x="1018" y="110"/>
                    </a:lnTo>
                    <a:lnTo>
                      <a:pt x="1017" y="116"/>
                    </a:lnTo>
                    <a:lnTo>
                      <a:pt x="1013" y="124"/>
                    </a:lnTo>
                    <a:lnTo>
                      <a:pt x="1007" y="134"/>
                    </a:lnTo>
                    <a:lnTo>
                      <a:pt x="1001" y="146"/>
                    </a:lnTo>
                    <a:lnTo>
                      <a:pt x="993" y="158"/>
                    </a:lnTo>
                    <a:lnTo>
                      <a:pt x="982" y="182"/>
                    </a:lnTo>
                    <a:lnTo>
                      <a:pt x="978" y="192"/>
                    </a:lnTo>
                    <a:lnTo>
                      <a:pt x="974" y="205"/>
                    </a:lnTo>
                    <a:lnTo>
                      <a:pt x="969" y="220"/>
                    </a:lnTo>
                    <a:lnTo>
                      <a:pt x="964" y="237"/>
                    </a:lnTo>
                    <a:lnTo>
                      <a:pt x="960" y="254"/>
                    </a:lnTo>
                    <a:lnTo>
                      <a:pt x="955" y="270"/>
                    </a:lnTo>
                    <a:lnTo>
                      <a:pt x="952" y="283"/>
                    </a:lnTo>
                    <a:lnTo>
                      <a:pt x="951" y="292"/>
                    </a:lnTo>
                    <a:lnTo>
                      <a:pt x="949" y="300"/>
                    </a:lnTo>
                    <a:lnTo>
                      <a:pt x="945" y="312"/>
                    </a:lnTo>
                    <a:lnTo>
                      <a:pt x="932" y="337"/>
                    </a:lnTo>
                    <a:lnTo>
                      <a:pt x="925" y="349"/>
                    </a:lnTo>
                    <a:lnTo>
                      <a:pt x="917" y="360"/>
                    </a:lnTo>
                    <a:lnTo>
                      <a:pt x="909" y="367"/>
                    </a:lnTo>
                    <a:lnTo>
                      <a:pt x="902" y="375"/>
                    </a:lnTo>
                    <a:lnTo>
                      <a:pt x="895" y="386"/>
                    </a:lnTo>
                    <a:lnTo>
                      <a:pt x="890" y="397"/>
                    </a:lnTo>
                    <a:lnTo>
                      <a:pt x="886" y="408"/>
                    </a:lnTo>
                    <a:lnTo>
                      <a:pt x="884" y="418"/>
                    </a:lnTo>
                    <a:lnTo>
                      <a:pt x="882" y="424"/>
                    </a:lnTo>
                    <a:lnTo>
                      <a:pt x="878" y="429"/>
                    </a:lnTo>
                    <a:lnTo>
                      <a:pt x="871" y="434"/>
                    </a:lnTo>
                    <a:lnTo>
                      <a:pt x="862" y="437"/>
                    </a:lnTo>
                    <a:lnTo>
                      <a:pt x="853" y="442"/>
                    </a:lnTo>
                    <a:lnTo>
                      <a:pt x="845" y="446"/>
                    </a:lnTo>
                    <a:lnTo>
                      <a:pt x="838" y="452"/>
                    </a:lnTo>
                    <a:lnTo>
                      <a:pt x="829" y="460"/>
                    </a:lnTo>
                    <a:lnTo>
                      <a:pt x="820" y="470"/>
                    </a:lnTo>
                    <a:lnTo>
                      <a:pt x="810" y="480"/>
                    </a:lnTo>
                    <a:lnTo>
                      <a:pt x="800" y="488"/>
                    </a:lnTo>
                    <a:lnTo>
                      <a:pt x="795" y="493"/>
                    </a:lnTo>
                    <a:lnTo>
                      <a:pt x="789" y="502"/>
                    </a:lnTo>
                    <a:lnTo>
                      <a:pt x="781" y="515"/>
                    </a:lnTo>
                    <a:lnTo>
                      <a:pt x="773" y="530"/>
                    </a:lnTo>
                    <a:lnTo>
                      <a:pt x="756" y="563"/>
                    </a:lnTo>
                    <a:lnTo>
                      <a:pt x="740" y="597"/>
                    </a:lnTo>
                    <a:lnTo>
                      <a:pt x="734" y="611"/>
                    </a:lnTo>
                    <a:lnTo>
                      <a:pt x="728" y="624"/>
                    </a:lnTo>
                    <a:lnTo>
                      <a:pt x="724" y="632"/>
                    </a:lnTo>
                    <a:lnTo>
                      <a:pt x="722" y="637"/>
                    </a:lnTo>
                    <a:lnTo>
                      <a:pt x="718" y="643"/>
                    </a:lnTo>
                    <a:lnTo>
                      <a:pt x="711" y="651"/>
                    </a:lnTo>
                    <a:lnTo>
                      <a:pt x="703" y="660"/>
                    </a:lnTo>
                    <a:lnTo>
                      <a:pt x="695" y="668"/>
                    </a:lnTo>
                    <a:lnTo>
                      <a:pt x="688" y="674"/>
                    </a:lnTo>
                    <a:lnTo>
                      <a:pt x="684" y="679"/>
                    </a:lnTo>
                    <a:lnTo>
                      <a:pt x="679" y="688"/>
                    </a:lnTo>
                    <a:lnTo>
                      <a:pt x="673" y="700"/>
                    </a:lnTo>
                    <a:lnTo>
                      <a:pt x="667" y="716"/>
                    </a:lnTo>
                    <a:lnTo>
                      <a:pt x="660" y="733"/>
                    </a:lnTo>
                    <a:lnTo>
                      <a:pt x="649" y="766"/>
                    </a:lnTo>
                    <a:lnTo>
                      <a:pt x="644" y="783"/>
                    </a:lnTo>
                    <a:lnTo>
                      <a:pt x="640" y="797"/>
                    </a:lnTo>
                    <a:lnTo>
                      <a:pt x="638" y="808"/>
                    </a:lnTo>
                    <a:lnTo>
                      <a:pt x="638" y="815"/>
                    </a:lnTo>
                    <a:lnTo>
                      <a:pt x="639" y="827"/>
                    </a:lnTo>
                    <a:lnTo>
                      <a:pt x="638" y="839"/>
                    </a:lnTo>
                    <a:lnTo>
                      <a:pt x="634" y="848"/>
                    </a:lnTo>
                    <a:lnTo>
                      <a:pt x="628" y="857"/>
                    </a:lnTo>
                    <a:lnTo>
                      <a:pt x="613" y="847"/>
                    </a:lnTo>
                    <a:lnTo>
                      <a:pt x="596" y="836"/>
                    </a:lnTo>
                    <a:lnTo>
                      <a:pt x="579" y="823"/>
                    </a:lnTo>
                    <a:lnTo>
                      <a:pt x="564" y="812"/>
                    </a:lnTo>
                    <a:lnTo>
                      <a:pt x="549" y="801"/>
                    </a:lnTo>
                    <a:lnTo>
                      <a:pt x="537" y="792"/>
                    </a:lnTo>
                    <a:lnTo>
                      <a:pt x="528" y="785"/>
                    </a:lnTo>
                    <a:lnTo>
                      <a:pt x="520" y="776"/>
                    </a:lnTo>
                    <a:lnTo>
                      <a:pt x="514" y="764"/>
                    </a:lnTo>
                    <a:lnTo>
                      <a:pt x="504" y="735"/>
                    </a:lnTo>
                    <a:lnTo>
                      <a:pt x="500" y="720"/>
                    </a:lnTo>
                    <a:lnTo>
                      <a:pt x="495" y="707"/>
                    </a:lnTo>
                    <a:lnTo>
                      <a:pt x="489" y="697"/>
                    </a:lnTo>
                    <a:lnTo>
                      <a:pt x="482" y="691"/>
                    </a:lnTo>
                    <a:lnTo>
                      <a:pt x="471" y="687"/>
                    </a:lnTo>
                    <a:lnTo>
                      <a:pt x="458" y="685"/>
                    </a:lnTo>
                    <a:lnTo>
                      <a:pt x="428" y="683"/>
                    </a:lnTo>
                    <a:lnTo>
                      <a:pt x="414" y="684"/>
                    </a:lnTo>
                    <a:lnTo>
                      <a:pt x="391" y="684"/>
                    </a:lnTo>
                    <a:lnTo>
                      <a:pt x="378" y="683"/>
                    </a:lnTo>
                    <a:lnTo>
                      <a:pt x="363" y="679"/>
                    </a:lnTo>
                    <a:lnTo>
                      <a:pt x="347" y="674"/>
                    </a:lnTo>
                    <a:lnTo>
                      <a:pt x="331" y="668"/>
                    </a:lnTo>
                    <a:lnTo>
                      <a:pt x="317" y="662"/>
                    </a:lnTo>
                    <a:lnTo>
                      <a:pt x="304" y="657"/>
                    </a:lnTo>
                    <a:lnTo>
                      <a:pt x="295" y="655"/>
                    </a:lnTo>
                    <a:lnTo>
                      <a:pt x="288" y="656"/>
                    </a:lnTo>
                    <a:lnTo>
                      <a:pt x="283" y="659"/>
                    </a:lnTo>
                    <a:lnTo>
                      <a:pt x="278" y="663"/>
                    </a:lnTo>
                    <a:lnTo>
                      <a:pt x="274" y="668"/>
                    </a:lnTo>
                    <a:lnTo>
                      <a:pt x="269" y="673"/>
                    </a:lnTo>
                    <a:lnTo>
                      <a:pt x="264" y="677"/>
                    </a:lnTo>
                    <a:lnTo>
                      <a:pt x="258" y="678"/>
                    </a:lnTo>
                    <a:lnTo>
                      <a:pt x="253" y="675"/>
                    </a:lnTo>
                    <a:lnTo>
                      <a:pt x="249" y="670"/>
                    </a:lnTo>
                    <a:lnTo>
                      <a:pt x="246" y="663"/>
                    </a:lnTo>
                    <a:lnTo>
                      <a:pt x="244" y="655"/>
                    </a:lnTo>
                    <a:lnTo>
                      <a:pt x="242" y="649"/>
                    </a:lnTo>
                    <a:lnTo>
                      <a:pt x="239" y="643"/>
                    </a:lnTo>
                    <a:lnTo>
                      <a:pt x="224" y="628"/>
                    </a:lnTo>
                    <a:lnTo>
                      <a:pt x="214" y="620"/>
                    </a:lnTo>
                    <a:lnTo>
                      <a:pt x="203" y="611"/>
                    </a:lnTo>
                    <a:lnTo>
                      <a:pt x="193" y="605"/>
                    </a:lnTo>
                    <a:lnTo>
                      <a:pt x="185" y="600"/>
                    </a:lnTo>
                    <a:lnTo>
                      <a:pt x="177" y="594"/>
                    </a:lnTo>
                    <a:lnTo>
                      <a:pt x="171" y="586"/>
                    </a:lnTo>
                    <a:lnTo>
                      <a:pt x="166" y="576"/>
                    </a:lnTo>
                    <a:lnTo>
                      <a:pt x="163" y="565"/>
                    </a:lnTo>
                    <a:lnTo>
                      <a:pt x="161" y="557"/>
                    </a:lnTo>
                    <a:lnTo>
                      <a:pt x="160" y="551"/>
                    </a:lnTo>
                    <a:lnTo>
                      <a:pt x="157" y="546"/>
                    </a:lnTo>
                    <a:lnTo>
                      <a:pt x="151" y="541"/>
                    </a:lnTo>
                    <a:lnTo>
                      <a:pt x="144" y="537"/>
                    </a:lnTo>
                    <a:lnTo>
                      <a:pt x="137" y="534"/>
                    </a:lnTo>
                    <a:lnTo>
                      <a:pt x="133" y="533"/>
                    </a:lnTo>
                    <a:lnTo>
                      <a:pt x="130" y="534"/>
                    </a:lnTo>
                    <a:lnTo>
                      <a:pt x="125" y="538"/>
                    </a:lnTo>
                    <a:lnTo>
                      <a:pt x="120" y="542"/>
                    </a:lnTo>
                    <a:lnTo>
                      <a:pt x="114" y="546"/>
                    </a:lnTo>
                    <a:lnTo>
                      <a:pt x="111" y="545"/>
                    </a:lnTo>
                    <a:lnTo>
                      <a:pt x="107" y="540"/>
                    </a:lnTo>
                    <a:lnTo>
                      <a:pt x="103" y="532"/>
                    </a:lnTo>
                    <a:lnTo>
                      <a:pt x="99" y="521"/>
                    </a:lnTo>
                    <a:lnTo>
                      <a:pt x="95" y="509"/>
                    </a:lnTo>
                    <a:lnTo>
                      <a:pt x="90" y="498"/>
                    </a:lnTo>
                    <a:lnTo>
                      <a:pt x="85" y="490"/>
                    </a:lnTo>
                    <a:lnTo>
                      <a:pt x="76" y="482"/>
                    </a:lnTo>
                    <a:lnTo>
                      <a:pt x="66" y="476"/>
                    </a:lnTo>
                    <a:lnTo>
                      <a:pt x="54" y="472"/>
                    </a:lnTo>
                    <a:lnTo>
                      <a:pt x="43" y="471"/>
                    </a:lnTo>
                    <a:lnTo>
                      <a:pt x="36" y="473"/>
                    </a:lnTo>
                    <a:lnTo>
                      <a:pt x="31" y="474"/>
                    </a:lnTo>
                    <a:lnTo>
                      <a:pt x="22" y="476"/>
                    </a:lnTo>
                    <a:lnTo>
                      <a:pt x="0" y="478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Freeform 11"/>
              <p:cNvSpPr>
                <a:spLocks/>
              </p:cNvSpPr>
              <p:nvPr/>
            </p:nvSpPr>
            <p:spPr bwMode="auto">
              <a:xfrm>
                <a:off x="5553076" y="1397000"/>
                <a:ext cx="1255713" cy="2195513"/>
              </a:xfrm>
              <a:custGeom>
                <a:avLst/>
                <a:gdLst/>
                <a:ahLst/>
                <a:cxnLst>
                  <a:cxn ang="0">
                    <a:pos x="311" y="12"/>
                  </a:cxn>
                  <a:cxn ang="0">
                    <a:pos x="326" y="34"/>
                  </a:cxn>
                  <a:cxn ang="0">
                    <a:pos x="349" y="41"/>
                  </a:cxn>
                  <a:cxn ang="0">
                    <a:pos x="372" y="57"/>
                  </a:cxn>
                  <a:cxn ang="0">
                    <a:pos x="388" y="63"/>
                  </a:cxn>
                  <a:cxn ang="0">
                    <a:pos x="425" y="62"/>
                  </a:cxn>
                  <a:cxn ang="0">
                    <a:pos x="466" y="86"/>
                  </a:cxn>
                  <a:cxn ang="0">
                    <a:pos x="505" y="76"/>
                  </a:cxn>
                  <a:cxn ang="0">
                    <a:pos x="531" y="96"/>
                  </a:cxn>
                  <a:cxn ang="0">
                    <a:pos x="567" y="95"/>
                  </a:cxn>
                  <a:cxn ang="0">
                    <a:pos x="610" y="64"/>
                  </a:cxn>
                  <a:cxn ang="0">
                    <a:pos x="655" y="30"/>
                  </a:cxn>
                  <a:cxn ang="0">
                    <a:pos x="686" y="12"/>
                  </a:cxn>
                  <a:cxn ang="0">
                    <a:pos x="664" y="47"/>
                  </a:cxn>
                  <a:cxn ang="0">
                    <a:pos x="613" y="81"/>
                  </a:cxn>
                  <a:cxn ang="0">
                    <a:pos x="602" y="93"/>
                  </a:cxn>
                  <a:cxn ang="0">
                    <a:pos x="617" y="95"/>
                  </a:cxn>
                  <a:cxn ang="0">
                    <a:pos x="617" y="114"/>
                  </a:cxn>
                  <a:cxn ang="0">
                    <a:pos x="644" y="109"/>
                  </a:cxn>
                  <a:cxn ang="0">
                    <a:pos x="650" y="88"/>
                  </a:cxn>
                  <a:cxn ang="0">
                    <a:pos x="677" y="102"/>
                  </a:cxn>
                  <a:cxn ang="0">
                    <a:pos x="697" y="97"/>
                  </a:cxn>
                  <a:cxn ang="0">
                    <a:pos x="704" y="117"/>
                  </a:cxn>
                  <a:cxn ang="0">
                    <a:pos x="679" y="147"/>
                  </a:cxn>
                  <a:cxn ang="0">
                    <a:pos x="655" y="200"/>
                  </a:cxn>
                  <a:cxn ang="0">
                    <a:pos x="609" y="210"/>
                  </a:cxn>
                  <a:cxn ang="0">
                    <a:pos x="616" y="240"/>
                  </a:cxn>
                  <a:cxn ang="0">
                    <a:pos x="603" y="270"/>
                  </a:cxn>
                  <a:cxn ang="0">
                    <a:pos x="590" y="315"/>
                  </a:cxn>
                  <a:cxn ang="0">
                    <a:pos x="572" y="359"/>
                  </a:cxn>
                  <a:cxn ang="0">
                    <a:pos x="611" y="397"/>
                  </a:cxn>
                  <a:cxn ang="0">
                    <a:pos x="643" y="429"/>
                  </a:cxn>
                  <a:cxn ang="0">
                    <a:pos x="665" y="440"/>
                  </a:cxn>
                  <a:cxn ang="0">
                    <a:pos x="686" y="455"/>
                  </a:cxn>
                  <a:cxn ang="0">
                    <a:pos x="740" y="495"/>
                  </a:cxn>
                  <a:cxn ang="0">
                    <a:pos x="774" y="513"/>
                  </a:cxn>
                  <a:cxn ang="0">
                    <a:pos x="661" y="1381"/>
                  </a:cxn>
                  <a:cxn ang="0">
                    <a:pos x="147" y="1376"/>
                  </a:cxn>
                  <a:cxn ang="0">
                    <a:pos x="12" y="374"/>
                  </a:cxn>
                  <a:cxn ang="0">
                    <a:pos x="34" y="371"/>
                  </a:cxn>
                  <a:cxn ang="0">
                    <a:pos x="17" y="313"/>
                  </a:cxn>
                  <a:cxn ang="0">
                    <a:pos x="53" y="272"/>
                  </a:cxn>
                  <a:cxn ang="0">
                    <a:pos x="56" y="241"/>
                  </a:cxn>
                  <a:cxn ang="0">
                    <a:pos x="84" y="225"/>
                  </a:cxn>
                  <a:cxn ang="0">
                    <a:pos x="86" y="203"/>
                  </a:cxn>
                  <a:cxn ang="0">
                    <a:pos x="81" y="175"/>
                  </a:cxn>
                  <a:cxn ang="0">
                    <a:pos x="103" y="152"/>
                  </a:cxn>
                  <a:cxn ang="0">
                    <a:pos x="133" y="119"/>
                  </a:cxn>
                  <a:cxn ang="0">
                    <a:pos x="175" y="97"/>
                  </a:cxn>
                  <a:cxn ang="0">
                    <a:pos x="211" y="105"/>
                  </a:cxn>
                  <a:cxn ang="0">
                    <a:pos x="239" y="106"/>
                  </a:cxn>
                  <a:cxn ang="0">
                    <a:pos x="257" y="109"/>
                  </a:cxn>
                  <a:cxn ang="0">
                    <a:pos x="302" y="92"/>
                  </a:cxn>
                  <a:cxn ang="0">
                    <a:pos x="300" y="52"/>
                  </a:cxn>
                  <a:cxn ang="0">
                    <a:pos x="246" y="28"/>
                  </a:cxn>
                  <a:cxn ang="0">
                    <a:pos x="262" y="11"/>
                  </a:cxn>
                </a:cxnLst>
                <a:rect l="0" t="0" r="r" b="b"/>
                <a:pathLst>
                  <a:path w="791" h="1383">
                    <a:moveTo>
                      <a:pt x="293" y="0"/>
                    </a:moveTo>
                    <a:lnTo>
                      <a:pt x="298" y="0"/>
                    </a:lnTo>
                    <a:lnTo>
                      <a:pt x="303" y="3"/>
                    </a:lnTo>
                    <a:lnTo>
                      <a:pt x="307" y="8"/>
                    </a:lnTo>
                    <a:lnTo>
                      <a:pt x="311" y="12"/>
                    </a:lnTo>
                    <a:lnTo>
                      <a:pt x="313" y="19"/>
                    </a:lnTo>
                    <a:lnTo>
                      <a:pt x="314" y="27"/>
                    </a:lnTo>
                    <a:lnTo>
                      <a:pt x="317" y="34"/>
                    </a:lnTo>
                    <a:lnTo>
                      <a:pt x="321" y="36"/>
                    </a:lnTo>
                    <a:lnTo>
                      <a:pt x="326" y="34"/>
                    </a:lnTo>
                    <a:lnTo>
                      <a:pt x="332" y="31"/>
                    </a:lnTo>
                    <a:lnTo>
                      <a:pt x="339" y="28"/>
                    </a:lnTo>
                    <a:lnTo>
                      <a:pt x="344" y="30"/>
                    </a:lnTo>
                    <a:lnTo>
                      <a:pt x="347" y="35"/>
                    </a:lnTo>
                    <a:lnTo>
                      <a:pt x="349" y="41"/>
                    </a:lnTo>
                    <a:lnTo>
                      <a:pt x="351" y="48"/>
                    </a:lnTo>
                    <a:lnTo>
                      <a:pt x="355" y="54"/>
                    </a:lnTo>
                    <a:lnTo>
                      <a:pt x="361" y="58"/>
                    </a:lnTo>
                    <a:lnTo>
                      <a:pt x="367" y="58"/>
                    </a:lnTo>
                    <a:lnTo>
                      <a:pt x="372" y="57"/>
                    </a:lnTo>
                    <a:lnTo>
                      <a:pt x="376" y="56"/>
                    </a:lnTo>
                    <a:lnTo>
                      <a:pt x="378" y="56"/>
                    </a:lnTo>
                    <a:lnTo>
                      <a:pt x="382" y="58"/>
                    </a:lnTo>
                    <a:lnTo>
                      <a:pt x="385" y="60"/>
                    </a:lnTo>
                    <a:lnTo>
                      <a:pt x="388" y="63"/>
                    </a:lnTo>
                    <a:lnTo>
                      <a:pt x="394" y="65"/>
                    </a:lnTo>
                    <a:lnTo>
                      <a:pt x="402" y="64"/>
                    </a:lnTo>
                    <a:lnTo>
                      <a:pt x="416" y="60"/>
                    </a:lnTo>
                    <a:lnTo>
                      <a:pt x="421" y="60"/>
                    </a:lnTo>
                    <a:lnTo>
                      <a:pt x="425" y="62"/>
                    </a:lnTo>
                    <a:lnTo>
                      <a:pt x="429" y="66"/>
                    </a:lnTo>
                    <a:lnTo>
                      <a:pt x="433" y="73"/>
                    </a:lnTo>
                    <a:lnTo>
                      <a:pt x="439" y="78"/>
                    </a:lnTo>
                    <a:lnTo>
                      <a:pt x="448" y="82"/>
                    </a:lnTo>
                    <a:lnTo>
                      <a:pt x="466" y="86"/>
                    </a:lnTo>
                    <a:lnTo>
                      <a:pt x="471" y="89"/>
                    </a:lnTo>
                    <a:lnTo>
                      <a:pt x="475" y="89"/>
                    </a:lnTo>
                    <a:lnTo>
                      <a:pt x="482" y="87"/>
                    </a:lnTo>
                    <a:lnTo>
                      <a:pt x="498" y="79"/>
                    </a:lnTo>
                    <a:lnTo>
                      <a:pt x="505" y="76"/>
                    </a:lnTo>
                    <a:lnTo>
                      <a:pt x="510" y="74"/>
                    </a:lnTo>
                    <a:lnTo>
                      <a:pt x="515" y="76"/>
                    </a:lnTo>
                    <a:lnTo>
                      <a:pt x="519" y="81"/>
                    </a:lnTo>
                    <a:lnTo>
                      <a:pt x="525" y="88"/>
                    </a:lnTo>
                    <a:lnTo>
                      <a:pt x="531" y="96"/>
                    </a:lnTo>
                    <a:lnTo>
                      <a:pt x="538" y="103"/>
                    </a:lnTo>
                    <a:lnTo>
                      <a:pt x="545" y="106"/>
                    </a:lnTo>
                    <a:lnTo>
                      <a:pt x="552" y="104"/>
                    </a:lnTo>
                    <a:lnTo>
                      <a:pt x="560" y="100"/>
                    </a:lnTo>
                    <a:lnTo>
                      <a:pt x="567" y="95"/>
                    </a:lnTo>
                    <a:lnTo>
                      <a:pt x="574" y="89"/>
                    </a:lnTo>
                    <a:lnTo>
                      <a:pt x="581" y="85"/>
                    </a:lnTo>
                    <a:lnTo>
                      <a:pt x="590" y="80"/>
                    </a:lnTo>
                    <a:lnTo>
                      <a:pt x="601" y="72"/>
                    </a:lnTo>
                    <a:lnTo>
                      <a:pt x="610" y="64"/>
                    </a:lnTo>
                    <a:lnTo>
                      <a:pt x="617" y="55"/>
                    </a:lnTo>
                    <a:lnTo>
                      <a:pt x="624" y="47"/>
                    </a:lnTo>
                    <a:lnTo>
                      <a:pt x="635" y="40"/>
                    </a:lnTo>
                    <a:lnTo>
                      <a:pt x="645" y="34"/>
                    </a:lnTo>
                    <a:lnTo>
                      <a:pt x="655" y="30"/>
                    </a:lnTo>
                    <a:lnTo>
                      <a:pt x="666" y="24"/>
                    </a:lnTo>
                    <a:lnTo>
                      <a:pt x="677" y="16"/>
                    </a:lnTo>
                    <a:lnTo>
                      <a:pt x="685" y="9"/>
                    </a:lnTo>
                    <a:lnTo>
                      <a:pt x="687" y="9"/>
                    </a:lnTo>
                    <a:lnTo>
                      <a:pt x="686" y="12"/>
                    </a:lnTo>
                    <a:lnTo>
                      <a:pt x="684" y="17"/>
                    </a:lnTo>
                    <a:lnTo>
                      <a:pt x="680" y="24"/>
                    </a:lnTo>
                    <a:lnTo>
                      <a:pt x="675" y="32"/>
                    </a:lnTo>
                    <a:lnTo>
                      <a:pt x="669" y="40"/>
                    </a:lnTo>
                    <a:lnTo>
                      <a:pt x="664" y="47"/>
                    </a:lnTo>
                    <a:lnTo>
                      <a:pt x="658" y="54"/>
                    </a:lnTo>
                    <a:lnTo>
                      <a:pt x="648" y="62"/>
                    </a:lnTo>
                    <a:lnTo>
                      <a:pt x="636" y="69"/>
                    </a:lnTo>
                    <a:lnTo>
                      <a:pt x="624" y="75"/>
                    </a:lnTo>
                    <a:lnTo>
                      <a:pt x="613" y="81"/>
                    </a:lnTo>
                    <a:lnTo>
                      <a:pt x="605" y="85"/>
                    </a:lnTo>
                    <a:lnTo>
                      <a:pt x="602" y="88"/>
                    </a:lnTo>
                    <a:lnTo>
                      <a:pt x="601" y="90"/>
                    </a:lnTo>
                    <a:lnTo>
                      <a:pt x="601" y="92"/>
                    </a:lnTo>
                    <a:lnTo>
                      <a:pt x="602" y="93"/>
                    </a:lnTo>
                    <a:lnTo>
                      <a:pt x="603" y="95"/>
                    </a:lnTo>
                    <a:lnTo>
                      <a:pt x="611" y="95"/>
                    </a:lnTo>
                    <a:lnTo>
                      <a:pt x="614" y="94"/>
                    </a:lnTo>
                    <a:lnTo>
                      <a:pt x="616" y="94"/>
                    </a:lnTo>
                    <a:lnTo>
                      <a:pt x="617" y="95"/>
                    </a:lnTo>
                    <a:lnTo>
                      <a:pt x="617" y="100"/>
                    </a:lnTo>
                    <a:lnTo>
                      <a:pt x="616" y="103"/>
                    </a:lnTo>
                    <a:lnTo>
                      <a:pt x="614" y="106"/>
                    </a:lnTo>
                    <a:lnTo>
                      <a:pt x="613" y="111"/>
                    </a:lnTo>
                    <a:lnTo>
                      <a:pt x="617" y="114"/>
                    </a:lnTo>
                    <a:lnTo>
                      <a:pt x="624" y="116"/>
                    </a:lnTo>
                    <a:lnTo>
                      <a:pt x="635" y="117"/>
                    </a:lnTo>
                    <a:lnTo>
                      <a:pt x="641" y="116"/>
                    </a:lnTo>
                    <a:lnTo>
                      <a:pt x="644" y="113"/>
                    </a:lnTo>
                    <a:lnTo>
                      <a:pt x="644" y="109"/>
                    </a:lnTo>
                    <a:lnTo>
                      <a:pt x="643" y="103"/>
                    </a:lnTo>
                    <a:lnTo>
                      <a:pt x="642" y="98"/>
                    </a:lnTo>
                    <a:lnTo>
                      <a:pt x="643" y="92"/>
                    </a:lnTo>
                    <a:lnTo>
                      <a:pt x="646" y="88"/>
                    </a:lnTo>
                    <a:lnTo>
                      <a:pt x="650" y="88"/>
                    </a:lnTo>
                    <a:lnTo>
                      <a:pt x="655" y="90"/>
                    </a:lnTo>
                    <a:lnTo>
                      <a:pt x="661" y="94"/>
                    </a:lnTo>
                    <a:lnTo>
                      <a:pt x="668" y="99"/>
                    </a:lnTo>
                    <a:lnTo>
                      <a:pt x="673" y="102"/>
                    </a:lnTo>
                    <a:lnTo>
                      <a:pt x="677" y="102"/>
                    </a:lnTo>
                    <a:lnTo>
                      <a:pt x="681" y="101"/>
                    </a:lnTo>
                    <a:lnTo>
                      <a:pt x="684" y="99"/>
                    </a:lnTo>
                    <a:lnTo>
                      <a:pt x="690" y="97"/>
                    </a:lnTo>
                    <a:lnTo>
                      <a:pt x="694" y="96"/>
                    </a:lnTo>
                    <a:lnTo>
                      <a:pt x="697" y="97"/>
                    </a:lnTo>
                    <a:lnTo>
                      <a:pt x="701" y="99"/>
                    </a:lnTo>
                    <a:lnTo>
                      <a:pt x="702" y="102"/>
                    </a:lnTo>
                    <a:lnTo>
                      <a:pt x="703" y="106"/>
                    </a:lnTo>
                    <a:lnTo>
                      <a:pt x="705" y="111"/>
                    </a:lnTo>
                    <a:lnTo>
                      <a:pt x="704" y="117"/>
                    </a:lnTo>
                    <a:lnTo>
                      <a:pt x="700" y="123"/>
                    </a:lnTo>
                    <a:lnTo>
                      <a:pt x="693" y="130"/>
                    </a:lnTo>
                    <a:lnTo>
                      <a:pt x="686" y="136"/>
                    </a:lnTo>
                    <a:lnTo>
                      <a:pt x="682" y="142"/>
                    </a:lnTo>
                    <a:lnTo>
                      <a:pt x="679" y="147"/>
                    </a:lnTo>
                    <a:lnTo>
                      <a:pt x="677" y="155"/>
                    </a:lnTo>
                    <a:lnTo>
                      <a:pt x="674" y="165"/>
                    </a:lnTo>
                    <a:lnTo>
                      <a:pt x="664" y="187"/>
                    </a:lnTo>
                    <a:lnTo>
                      <a:pt x="660" y="196"/>
                    </a:lnTo>
                    <a:lnTo>
                      <a:pt x="655" y="200"/>
                    </a:lnTo>
                    <a:lnTo>
                      <a:pt x="648" y="203"/>
                    </a:lnTo>
                    <a:lnTo>
                      <a:pt x="638" y="204"/>
                    </a:lnTo>
                    <a:lnTo>
                      <a:pt x="620" y="206"/>
                    </a:lnTo>
                    <a:lnTo>
                      <a:pt x="613" y="207"/>
                    </a:lnTo>
                    <a:lnTo>
                      <a:pt x="609" y="210"/>
                    </a:lnTo>
                    <a:lnTo>
                      <a:pt x="607" y="216"/>
                    </a:lnTo>
                    <a:lnTo>
                      <a:pt x="606" y="224"/>
                    </a:lnTo>
                    <a:lnTo>
                      <a:pt x="608" y="232"/>
                    </a:lnTo>
                    <a:lnTo>
                      <a:pt x="611" y="238"/>
                    </a:lnTo>
                    <a:lnTo>
                      <a:pt x="616" y="240"/>
                    </a:lnTo>
                    <a:lnTo>
                      <a:pt x="618" y="242"/>
                    </a:lnTo>
                    <a:lnTo>
                      <a:pt x="616" y="246"/>
                    </a:lnTo>
                    <a:lnTo>
                      <a:pt x="613" y="252"/>
                    </a:lnTo>
                    <a:lnTo>
                      <a:pt x="608" y="260"/>
                    </a:lnTo>
                    <a:lnTo>
                      <a:pt x="603" y="270"/>
                    </a:lnTo>
                    <a:lnTo>
                      <a:pt x="600" y="279"/>
                    </a:lnTo>
                    <a:lnTo>
                      <a:pt x="596" y="287"/>
                    </a:lnTo>
                    <a:lnTo>
                      <a:pt x="595" y="294"/>
                    </a:lnTo>
                    <a:lnTo>
                      <a:pt x="594" y="304"/>
                    </a:lnTo>
                    <a:lnTo>
                      <a:pt x="590" y="315"/>
                    </a:lnTo>
                    <a:lnTo>
                      <a:pt x="586" y="327"/>
                    </a:lnTo>
                    <a:lnTo>
                      <a:pt x="580" y="339"/>
                    </a:lnTo>
                    <a:lnTo>
                      <a:pt x="576" y="349"/>
                    </a:lnTo>
                    <a:lnTo>
                      <a:pt x="573" y="354"/>
                    </a:lnTo>
                    <a:lnTo>
                      <a:pt x="572" y="359"/>
                    </a:lnTo>
                    <a:lnTo>
                      <a:pt x="575" y="364"/>
                    </a:lnTo>
                    <a:lnTo>
                      <a:pt x="582" y="370"/>
                    </a:lnTo>
                    <a:lnTo>
                      <a:pt x="592" y="378"/>
                    </a:lnTo>
                    <a:lnTo>
                      <a:pt x="601" y="387"/>
                    </a:lnTo>
                    <a:lnTo>
                      <a:pt x="611" y="397"/>
                    </a:lnTo>
                    <a:lnTo>
                      <a:pt x="620" y="407"/>
                    </a:lnTo>
                    <a:lnTo>
                      <a:pt x="627" y="416"/>
                    </a:lnTo>
                    <a:lnTo>
                      <a:pt x="632" y="423"/>
                    </a:lnTo>
                    <a:lnTo>
                      <a:pt x="637" y="427"/>
                    </a:lnTo>
                    <a:lnTo>
                      <a:pt x="643" y="429"/>
                    </a:lnTo>
                    <a:lnTo>
                      <a:pt x="649" y="429"/>
                    </a:lnTo>
                    <a:lnTo>
                      <a:pt x="654" y="427"/>
                    </a:lnTo>
                    <a:lnTo>
                      <a:pt x="658" y="427"/>
                    </a:lnTo>
                    <a:lnTo>
                      <a:pt x="662" y="433"/>
                    </a:lnTo>
                    <a:lnTo>
                      <a:pt x="665" y="440"/>
                    </a:lnTo>
                    <a:lnTo>
                      <a:pt x="666" y="446"/>
                    </a:lnTo>
                    <a:lnTo>
                      <a:pt x="668" y="449"/>
                    </a:lnTo>
                    <a:lnTo>
                      <a:pt x="673" y="452"/>
                    </a:lnTo>
                    <a:lnTo>
                      <a:pt x="679" y="453"/>
                    </a:lnTo>
                    <a:lnTo>
                      <a:pt x="686" y="455"/>
                    </a:lnTo>
                    <a:lnTo>
                      <a:pt x="693" y="457"/>
                    </a:lnTo>
                    <a:lnTo>
                      <a:pt x="703" y="463"/>
                    </a:lnTo>
                    <a:lnTo>
                      <a:pt x="714" y="472"/>
                    </a:lnTo>
                    <a:lnTo>
                      <a:pt x="734" y="492"/>
                    </a:lnTo>
                    <a:lnTo>
                      <a:pt x="740" y="495"/>
                    </a:lnTo>
                    <a:lnTo>
                      <a:pt x="746" y="495"/>
                    </a:lnTo>
                    <a:lnTo>
                      <a:pt x="758" y="493"/>
                    </a:lnTo>
                    <a:lnTo>
                      <a:pt x="764" y="496"/>
                    </a:lnTo>
                    <a:lnTo>
                      <a:pt x="769" y="504"/>
                    </a:lnTo>
                    <a:lnTo>
                      <a:pt x="774" y="513"/>
                    </a:lnTo>
                    <a:lnTo>
                      <a:pt x="780" y="525"/>
                    </a:lnTo>
                    <a:lnTo>
                      <a:pt x="790" y="536"/>
                    </a:lnTo>
                    <a:lnTo>
                      <a:pt x="791" y="536"/>
                    </a:lnTo>
                    <a:lnTo>
                      <a:pt x="761" y="1383"/>
                    </a:lnTo>
                    <a:lnTo>
                      <a:pt x="661" y="1381"/>
                    </a:lnTo>
                    <a:lnTo>
                      <a:pt x="567" y="1378"/>
                    </a:lnTo>
                    <a:lnTo>
                      <a:pt x="480" y="1376"/>
                    </a:lnTo>
                    <a:lnTo>
                      <a:pt x="400" y="1375"/>
                    </a:lnTo>
                    <a:lnTo>
                      <a:pt x="199" y="1375"/>
                    </a:lnTo>
                    <a:lnTo>
                      <a:pt x="147" y="1376"/>
                    </a:lnTo>
                    <a:lnTo>
                      <a:pt x="101" y="1377"/>
                    </a:lnTo>
                    <a:lnTo>
                      <a:pt x="63" y="1378"/>
                    </a:lnTo>
                    <a:lnTo>
                      <a:pt x="32" y="1379"/>
                    </a:lnTo>
                    <a:lnTo>
                      <a:pt x="0" y="371"/>
                    </a:lnTo>
                    <a:lnTo>
                      <a:pt x="12" y="374"/>
                    </a:lnTo>
                    <a:lnTo>
                      <a:pt x="22" y="376"/>
                    </a:lnTo>
                    <a:lnTo>
                      <a:pt x="29" y="378"/>
                    </a:lnTo>
                    <a:lnTo>
                      <a:pt x="33" y="379"/>
                    </a:lnTo>
                    <a:lnTo>
                      <a:pt x="34" y="377"/>
                    </a:lnTo>
                    <a:lnTo>
                      <a:pt x="34" y="371"/>
                    </a:lnTo>
                    <a:lnTo>
                      <a:pt x="33" y="362"/>
                    </a:lnTo>
                    <a:lnTo>
                      <a:pt x="31" y="352"/>
                    </a:lnTo>
                    <a:lnTo>
                      <a:pt x="27" y="343"/>
                    </a:lnTo>
                    <a:lnTo>
                      <a:pt x="17" y="323"/>
                    </a:lnTo>
                    <a:lnTo>
                      <a:pt x="17" y="313"/>
                    </a:lnTo>
                    <a:lnTo>
                      <a:pt x="20" y="305"/>
                    </a:lnTo>
                    <a:lnTo>
                      <a:pt x="27" y="296"/>
                    </a:lnTo>
                    <a:lnTo>
                      <a:pt x="35" y="287"/>
                    </a:lnTo>
                    <a:lnTo>
                      <a:pt x="44" y="279"/>
                    </a:lnTo>
                    <a:lnTo>
                      <a:pt x="53" y="272"/>
                    </a:lnTo>
                    <a:lnTo>
                      <a:pt x="56" y="267"/>
                    </a:lnTo>
                    <a:lnTo>
                      <a:pt x="57" y="260"/>
                    </a:lnTo>
                    <a:lnTo>
                      <a:pt x="57" y="253"/>
                    </a:lnTo>
                    <a:lnTo>
                      <a:pt x="56" y="246"/>
                    </a:lnTo>
                    <a:lnTo>
                      <a:pt x="56" y="241"/>
                    </a:lnTo>
                    <a:lnTo>
                      <a:pt x="58" y="235"/>
                    </a:lnTo>
                    <a:lnTo>
                      <a:pt x="63" y="231"/>
                    </a:lnTo>
                    <a:lnTo>
                      <a:pt x="72" y="227"/>
                    </a:lnTo>
                    <a:lnTo>
                      <a:pt x="79" y="226"/>
                    </a:lnTo>
                    <a:lnTo>
                      <a:pt x="84" y="225"/>
                    </a:lnTo>
                    <a:lnTo>
                      <a:pt x="88" y="224"/>
                    </a:lnTo>
                    <a:lnTo>
                      <a:pt x="91" y="221"/>
                    </a:lnTo>
                    <a:lnTo>
                      <a:pt x="91" y="217"/>
                    </a:lnTo>
                    <a:lnTo>
                      <a:pt x="89" y="211"/>
                    </a:lnTo>
                    <a:lnTo>
                      <a:pt x="86" y="203"/>
                    </a:lnTo>
                    <a:lnTo>
                      <a:pt x="82" y="196"/>
                    </a:lnTo>
                    <a:lnTo>
                      <a:pt x="79" y="189"/>
                    </a:lnTo>
                    <a:lnTo>
                      <a:pt x="77" y="183"/>
                    </a:lnTo>
                    <a:lnTo>
                      <a:pt x="78" y="178"/>
                    </a:lnTo>
                    <a:lnTo>
                      <a:pt x="81" y="175"/>
                    </a:lnTo>
                    <a:lnTo>
                      <a:pt x="91" y="171"/>
                    </a:lnTo>
                    <a:lnTo>
                      <a:pt x="97" y="170"/>
                    </a:lnTo>
                    <a:lnTo>
                      <a:pt x="100" y="166"/>
                    </a:lnTo>
                    <a:lnTo>
                      <a:pt x="101" y="160"/>
                    </a:lnTo>
                    <a:lnTo>
                      <a:pt x="103" y="152"/>
                    </a:lnTo>
                    <a:lnTo>
                      <a:pt x="105" y="145"/>
                    </a:lnTo>
                    <a:lnTo>
                      <a:pt x="109" y="140"/>
                    </a:lnTo>
                    <a:lnTo>
                      <a:pt x="115" y="135"/>
                    </a:lnTo>
                    <a:lnTo>
                      <a:pt x="123" y="127"/>
                    </a:lnTo>
                    <a:lnTo>
                      <a:pt x="133" y="119"/>
                    </a:lnTo>
                    <a:lnTo>
                      <a:pt x="142" y="111"/>
                    </a:lnTo>
                    <a:lnTo>
                      <a:pt x="150" y="106"/>
                    </a:lnTo>
                    <a:lnTo>
                      <a:pt x="157" y="103"/>
                    </a:lnTo>
                    <a:lnTo>
                      <a:pt x="166" y="101"/>
                    </a:lnTo>
                    <a:lnTo>
                      <a:pt x="175" y="97"/>
                    </a:lnTo>
                    <a:lnTo>
                      <a:pt x="183" y="94"/>
                    </a:lnTo>
                    <a:lnTo>
                      <a:pt x="189" y="93"/>
                    </a:lnTo>
                    <a:lnTo>
                      <a:pt x="194" y="95"/>
                    </a:lnTo>
                    <a:lnTo>
                      <a:pt x="201" y="100"/>
                    </a:lnTo>
                    <a:lnTo>
                      <a:pt x="211" y="105"/>
                    </a:lnTo>
                    <a:lnTo>
                      <a:pt x="222" y="110"/>
                    </a:lnTo>
                    <a:lnTo>
                      <a:pt x="229" y="111"/>
                    </a:lnTo>
                    <a:lnTo>
                      <a:pt x="234" y="110"/>
                    </a:lnTo>
                    <a:lnTo>
                      <a:pt x="237" y="108"/>
                    </a:lnTo>
                    <a:lnTo>
                      <a:pt x="239" y="106"/>
                    </a:lnTo>
                    <a:lnTo>
                      <a:pt x="244" y="105"/>
                    </a:lnTo>
                    <a:lnTo>
                      <a:pt x="248" y="105"/>
                    </a:lnTo>
                    <a:lnTo>
                      <a:pt x="250" y="107"/>
                    </a:lnTo>
                    <a:lnTo>
                      <a:pt x="253" y="108"/>
                    </a:lnTo>
                    <a:lnTo>
                      <a:pt x="257" y="109"/>
                    </a:lnTo>
                    <a:lnTo>
                      <a:pt x="264" y="109"/>
                    </a:lnTo>
                    <a:lnTo>
                      <a:pt x="273" y="107"/>
                    </a:lnTo>
                    <a:lnTo>
                      <a:pt x="286" y="104"/>
                    </a:lnTo>
                    <a:lnTo>
                      <a:pt x="295" y="98"/>
                    </a:lnTo>
                    <a:lnTo>
                      <a:pt x="302" y="92"/>
                    </a:lnTo>
                    <a:lnTo>
                      <a:pt x="307" y="84"/>
                    </a:lnTo>
                    <a:lnTo>
                      <a:pt x="310" y="75"/>
                    </a:lnTo>
                    <a:lnTo>
                      <a:pt x="310" y="66"/>
                    </a:lnTo>
                    <a:lnTo>
                      <a:pt x="306" y="59"/>
                    </a:lnTo>
                    <a:lnTo>
                      <a:pt x="300" y="52"/>
                    </a:lnTo>
                    <a:lnTo>
                      <a:pt x="288" y="40"/>
                    </a:lnTo>
                    <a:lnTo>
                      <a:pt x="280" y="36"/>
                    </a:lnTo>
                    <a:lnTo>
                      <a:pt x="261" y="32"/>
                    </a:lnTo>
                    <a:lnTo>
                      <a:pt x="252" y="31"/>
                    </a:lnTo>
                    <a:lnTo>
                      <a:pt x="246" y="28"/>
                    </a:lnTo>
                    <a:lnTo>
                      <a:pt x="244" y="24"/>
                    </a:lnTo>
                    <a:lnTo>
                      <a:pt x="245" y="20"/>
                    </a:lnTo>
                    <a:lnTo>
                      <a:pt x="249" y="16"/>
                    </a:lnTo>
                    <a:lnTo>
                      <a:pt x="255" y="12"/>
                    </a:lnTo>
                    <a:lnTo>
                      <a:pt x="262" y="11"/>
                    </a:lnTo>
                    <a:lnTo>
                      <a:pt x="273" y="10"/>
                    </a:lnTo>
                    <a:lnTo>
                      <a:pt x="282" y="7"/>
                    </a:lnTo>
                    <a:lnTo>
                      <a:pt x="289" y="2"/>
                    </a:lnTo>
                    <a:lnTo>
                      <a:pt x="293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Freeform 12"/>
              <p:cNvSpPr>
                <a:spLocks/>
              </p:cNvSpPr>
              <p:nvPr/>
            </p:nvSpPr>
            <p:spPr bwMode="auto">
              <a:xfrm>
                <a:off x="5716588" y="1420813"/>
                <a:ext cx="158750" cy="9366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3" y="0"/>
                  </a:cxn>
                  <a:cxn ang="0">
                    <a:pos x="19" y="5"/>
                  </a:cxn>
                  <a:cxn ang="0">
                    <a:pos x="27" y="11"/>
                  </a:cxn>
                  <a:cxn ang="0">
                    <a:pos x="33" y="13"/>
                  </a:cxn>
                  <a:cxn ang="0">
                    <a:pos x="54" y="13"/>
                  </a:cxn>
                  <a:cxn ang="0">
                    <a:pos x="66" y="12"/>
                  </a:cxn>
                  <a:cxn ang="0">
                    <a:pos x="76" y="10"/>
                  </a:cxn>
                  <a:cxn ang="0">
                    <a:pos x="84" y="9"/>
                  </a:cxn>
                  <a:cxn ang="0">
                    <a:pos x="89" y="9"/>
                  </a:cxn>
                  <a:cxn ang="0">
                    <a:pos x="92" y="11"/>
                  </a:cxn>
                  <a:cxn ang="0">
                    <a:pos x="96" y="15"/>
                  </a:cxn>
                  <a:cxn ang="0">
                    <a:pos x="99" y="21"/>
                  </a:cxn>
                  <a:cxn ang="0">
                    <a:pos x="100" y="26"/>
                  </a:cxn>
                  <a:cxn ang="0">
                    <a:pos x="99" y="31"/>
                  </a:cxn>
                  <a:cxn ang="0">
                    <a:pos x="96" y="34"/>
                  </a:cxn>
                  <a:cxn ang="0">
                    <a:pos x="90" y="39"/>
                  </a:cxn>
                  <a:cxn ang="0">
                    <a:pos x="83" y="45"/>
                  </a:cxn>
                  <a:cxn ang="0">
                    <a:pos x="76" y="51"/>
                  </a:cxn>
                  <a:cxn ang="0">
                    <a:pos x="68" y="56"/>
                  </a:cxn>
                  <a:cxn ang="0">
                    <a:pos x="62" y="59"/>
                  </a:cxn>
                  <a:cxn ang="0">
                    <a:pos x="56" y="59"/>
                  </a:cxn>
                  <a:cxn ang="0">
                    <a:pos x="48" y="55"/>
                  </a:cxn>
                  <a:cxn ang="0">
                    <a:pos x="39" y="48"/>
                  </a:cxn>
                  <a:cxn ang="0">
                    <a:pos x="21" y="32"/>
                  </a:cxn>
                  <a:cxn ang="0">
                    <a:pos x="13" y="24"/>
                  </a:cxn>
                  <a:cxn ang="0">
                    <a:pos x="6" y="17"/>
                  </a:cxn>
                  <a:cxn ang="0">
                    <a:pos x="2" y="11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8" y="0"/>
                  </a:cxn>
                </a:cxnLst>
                <a:rect l="0" t="0" r="r" b="b"/>
                <a:pathLst>
                  <a:path w="100" h="59">
                    <a:moveTo>
                      <a:pt x="8" y="0"/>
                    </a:moveTo>
                    <a:lnTo>
                      <a:pt x="13" y="0"/>
                    </a:lnTo>
                    <a:lnTo>
                      <a:pt x="19" y="5"/>
                    </a:lnTo>
                    <a:lnTo>
                      <a:pt x="27" y="11"/>
                    </a:lnTo>
                    <a:lnTo>
                      <a:pt x="33" y="13"/>
                    </a:lnTo>
                    <a:lnTo>
                      <a:pt x="54" y="13"/>
                    </a:lnTo>
                    <a:lnTo>
                      <a:pt x="66" y="12"/>
                    </a:lnTo>
                    <a:lnTo>
                      <a:pt x="76" y="10"/>
                    </a:lnTo>
                    <a:lnTo>
                      <a:pt x="84" y="9"/>
                    </a:lnTo>
                    <a:lnTo>
                      <a:pt x="89" y="9"/>
                    </a:lnTo>
                    <a:lnTo>
                      <a:pt x="92" y="11"/>
                    </a:lnTo>
                    <a:lnTo>
                      <a:pt x="96" y="15"/>
                    </a:lnTo>
                    <a:lnTo>
                      <a:pt x="99" y="21"/>
                    </a:lnTo>
                    <a:lnTo>
                      <a:pt x="100" y="26"/>
                    </a:lnTo>
                    <a:lnTo>
                      <a:pt x="99" y="31"/>
                    </a:lnTo>
                    <a:lnTo>
                      <a:pt x="96" y="34"/>
                    </a:lnTo>
                    <a:lnTo>
                      <a:pt x="90" y="39"/>
                    </a:lnTo>
                    <a:lnTo>
                      <a:pt x="83" y="45"/>
                    </a:lnTo>
                    <a:lnTo>
                      <a:pt x="76" y="51"/>
                    </a:lnTo>
                    <a:lnTo>
                      <a:pt x="68" y="56"/>
                    </a:lnTo>
                    <a:lnTo>
                      <a:pt x="62" y="59"/>
                    </a:lnTo>
                    <a:lnTo>
                      <a:pt x="56" y="59"/>
                    </a:lnTo>
                    <a:lnTo>
                      <a:pt x="48" y="55"/>
                    </a:lnTo>
                    <a:lnTo>
                      <a:pt x="39" y="48"/>
                    </a:lnTo>
                    <a:lnTo>
                      <a:pt x="21" y="32"/>
                    </a:lnTo>
                    <a:lnTo>
                      <a:pt x="13" y="24"/>
                    </a:lnTo>
                    <a:lnTo>
                      <a:pt x="6" y="17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4" name="Freeform 13"/>
              <p:cNvSpPr>
                <a:spLocks/>
              </p:cNvSpPr>
              <p:nvPr/>
            </p:nvSpPr>
            <p:spPr bwMode="auto">
              <a:xfrm>
                <a:off x="5683251" y="1460500"/>
                <a:ext cx="55563" cy="444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6" y="0"/>
                  </a:cxn>
                  <a:cxn ang="0">
                    <a:pos x="20" y="3"/>
                  </a:cxn>
                  <a:cxn ang="0">
                    <a:pos x="26" y="8"/>
                  </a:cxn>
                  <a:cxn ang="0">
                    <a:pos x="31" y="13"/>
                  </a:cxn>
                  <a:cxn ang="0">
                    <a:pos x="34" y="19"/>
                  </a:cxn>
                  <a:cxn ang="0">
                    <a:pos x="35" y="24"/>
                  </a:cxn>
                  <a:cxn ang="0">
                    <a:pos x="33" y="27"/>
                  </a:cxn>
                  <a:cxn ang="0">
                    <a:pos x="25" y="28"/>
                  </a:cxn>
                  <a:cxn ang="0">
                    <a:pos x="16" y="26"/>
                  </a:cxn>
                  <a:cxn ang="0">
                    <a:pos x="9" y="23"/>
                  </a:cxn>
                  <a:cxn ang="0">
                    <a:pos x="2" y="20"/>
                  </a:cxn>
                  <a:cxn ang="0">
                    <a:pos x="0" y="17"/>
                  </a:cxn>
                  <a:cxn ang="0">
                    <a:pos x="0" y="12"/>
                  </a:cxn>
                  <a:cxn ang="0">
                    <a:pos x="3" y="7"/>
                  </a:cxn>
                  <a:cxn ang="0">
                    <a:pos x="8" y="2"/>
                  </a:cxn>
                  <a:cxn ang="0">
                    <a:pos x="12" y="0"/>
                  </a:cxn>
                </a:cxnLst>
                <a:rect l="0" t="0" r="r" b="b"/>
                <a:pathLst>
                  <a:path w="35" h="28">
                    <a:moveTo>
                      <a:pt x="12" y="0"/>
                    </a:moveTo>
                    <a:lnTo>
                      <a:pt x="16" y="0"/>
                    </a:lnTo>
                    <a:lnTo>
                      <a:pt x="20" y="3"/>
                    </a:lnTo>
                    <a:lnTo>
                      <a:pt x="26" y="8"/>
                    </a:lnTo>
                    <a:lnTo>
                      <a:pt x="31" y="13"/>
                    </a:lnTo>
                    <a:lnTo>
                      <a:pt x="34" y="19"/>
                    </a:lnTo>
                    <a:lnTo>
                      <a:pt x="35" y="24"/>
                    </a:lnTo>
                    <a:lnTo>
                      <a:pt x="33" y="27"/>
                    </a:lnTo>
                    <a:lnTo>
                      <a:pt x="25" y="28"/>
                    </a:lnTo>
                    <a:lnTo>
                      <a:pt x="16" y="26"/>
                    </a:lnTo>
                    <a:lnTo>
                      <a:pt x="9" y="23"/>
                    </a:lnTo>
                    <a:lnTo>
                      <a:pt x="2" y="20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3" y="7"/>
                    </a:lnTo>
                    <a:lnTo>
                      <a:pt x="8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5" name="Freeform 14"/>
              <p:cNvSpPr>
                <a:spLocks/>
              </p:cNvSpPr>
              <p:nvPr/>
            </p:nvSpPr>
            <p:spPr bwMode="auto">
              <a:xfrm>
                <a:off x="6589713" y="1804988"/>
                <a:ext cx="68263" cy="6508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27" y="0"/>
                  </a:cxn>
                  <a:cxn ang="0">
                    <a:pos x="32" y="2"/>
                  </a:cxn>
                  <a:cxn ang="0">
                    <a:pos x="35" y="5"/>
                  </a:cxn>
                  <a:cxn ang="0">
                    <a:pos x="36" y="11"/>
                  </a:cxn>
                  <a:cxn ang="0">
                    <a:pos x="34" y="19"/>
                  </a:cxn>
                  <a:cxn ang="0">
                    <a:pos x="34" y="26"/>
                  </a:cxn>
                  <a:cxn ang="0">
                    <a:pos x="36" y="30"/>
                  </a:cxn>
                  <a:cxn ang="0">
                    <a:pos x="40" y="33"/>
                  </a:cxn>
                  <a:cxn ang="0">
                    <a:pos x="43" y="35"/>
                  </a:cxn>
                  <a:cxn ang="0">
                    <a:pos x="43" y="38"/>
                  </a:cxn>
                  <a:cxn ang="0">
                    <a:pos x="39" y="40"/>
                  </a:cxn>
                  <a:cxn ang="0">
                    <a:pos x="36" y="41"/>
                  </a:cxn>
                  <a:cxn ang="0">
                    <a:pos x="19" y="41"/>
                  </a:cxn>
                  <a:cxn ang="0">
                    <a:pos x="9" y="39"/>
                  </a:cxn>
                  <a:cxn ang="0">
                    <a:pos x="2" y="36"/>
                  </a:cxn>
                  <a:cxn ang="0">
                    <a:pos x="0" y="30"/>
                  </a:cxn>
                  <a:cxn ang="0">
                    <a:pos x="0" y="23"/>
                  </a:cxn>
                  <a:cxn ang="0">
                    <a:pos x="1" y="15"/>
                  </a:cxn>
                  <a:cxn ang="0">
                    <a:pos x="3" y="7"/>
                  </a:cxn>
                  <a:cxn ang="0">
                    <a:pos x="6" y="2"/>
                  </a:cxn>
                  <a:cxn ang="0">
                    <a:pos x="12" y="0"/>
                  </a:cxn>
                </a:cxnLst>
                <a:rect l="0" t="0" r="r" b="b"/>
                <a:pathLst>
                  <a:path w="43" h="41">
                    <a:moveTo>
                      <a:pt x="12" y="0"/>
                    </a:moveTo>
                    <a:lnTo>
                      <a:pt x="27" y="0"/>
                    </a:lnTo>
                    <a:lnTo>
                      <a:pt x="32" y="2"/>
                    </a:lnTo>
                    <a:lnTo>
                      <a:pt x="35" y="5"/>
                    </a:lnTo>
                    <a:lnTo>
                      <a:pt x="36" y="11"/>
                    </a:lnTo>
                    <a:lnTo>
                      <a:pt x="34" y="19"/>
                    </a:lnTo>
                    <a:lnTo>
                      <a:pt x="34" y="26"/>
                    </a:lnTo>
                    <a:lnTo>
                      <a:pt x="36" y="30"/>
                    </a:lnTo>
                    <a:lnTo>
                      <a:pt x="40" y="33"/>
                    </a:lnTo>
                    <a:lnTo>
                      <a:pt x="43" y="35"/>
                    </a:lnTo>
                    <a:lnTo>
                      <a:pt x="43" y="38"/>
                    </a:lnTo>
                    <a:lnTo>
                      <a:pt x="39" y="40"/>
                    </a:lnTo>
                    <a:lnTo>
                      <a:pt x="36" y="41"/>
                    </a:lnTo>
                    <a:lnTo>
                      <a:pt x="19" y="41"/>
                    </a:lnTo>
                    <a:lnTo>
                      <a:pt x="9" y="39"/>
                    </a:lnTo>
                    <a:lnTo>
                      <a:pt x="2" y="36"/>
                    </a:lnTo>
                    <a:lnTo>
                      <a:pt x="0" y="30"/>
                    </a:lnTo>
                    <a:lnTo>
                      <a:pt x="0" y="23"/>
                    </a:lnTo>
                    <a:lnTo>
                      <a:pt x="1" y="15"/>
                    </a:lnTo>
                    <a:lnTo>
                      <a:pt x="3" y="7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Freeform 15"/>
              <p:cNvSpPr>
                <a:spLocks/>
              </p:cNvSpPr>
              <p:nvPr/>
            </p:nvSpPr>
            <p:spPr bwMode="auto">
              <a:xfrm>
                <a:off x="7404101" y="5826125"/>
                <a:ext cx="407988" cy="444500"/>
              </a:xfrm>
              <a:custGeom>
                <a:avLst/>
                <a:gdLst/>
                <a:ahLst/>
                <a:cxnLst>
                  <a:cxn ang="0">
                    <a:pos x="23" y="1"/>
                  </a:cxn>
                  <a:cxn ang="0">
                    <a:pos x="39" y="9"/>
                  </a:cxn>
                  <a:cxn ang="0">
                    <a:pos x="58" y="22"/>
                  </a:cxn>
                  <a:cxn ang="0">
                    <a:pos x="74" y="28"/>
                  </a:cxn>
                  <a:cxn ang="0">
                    <a:pos x="90" y="33"/>
                  </a:cxn>
                  <a:cxn ang="0">
                    <a:pos x="120" y="46"/>
                  </a:cxn>
                  <a:cxn ang="0">
                    <a:pos x="136" y="51"/>
                  </a:cxn>
                  <a:cxn ang="0">
                    <a:pos x="151" y="42"/>
                  </a:cxn>
                  <a:cxn ang="0">
                    <a:pos x="161" y="38"/>
                  </a:cxn>
                  <a:cxn ang="0">
                    <a:pos x="168" y="39"/>
                  </a:cxn>
                  <a:cxn ang="0">
                    <a:pos x="180" y="45"/>
                  </a:cxn>
                  <a:cxn ang="0">
                    <a:pos x="191" y="42"/>
                  </a:cxn>
                  <a:cxn ang="0">
                    <a:pos x="206" y="35"/>
                  </a:cxn>
                  <a:cxn ang="0">
                    <a:pos x="234" y="18"/>
                  </a:cxn>
                  <a:cxn ang="0">
                    <a:pos x="247" y="22"/>
                  </a:cxn>
                  <a:cxn ang="0">
                    <a:pos x="253" y="33"/>
                  </a:cxn>
                  <a:cxn ang="0">
                    <a:pos x="255" y="40"/>
                  </a:cxn>
                  <a:cxn ang="0">
                    <a:pos x="256" y="73"/>
                  </a:cxn>
                  <a:cxn ang="0">
                    <a:pos x="257" y="101"/>
                  </a:cxn>
                  <a:cxn ang="0">
                    <a:pos x="250" y="124"/>
                  </a:cxn>
                  <a:cxn ang="0">
                    <a:pos x="236" y="146"/>
                  </a:cxn>
                  <a:cxn ang="0">
                    <a:pos x="224" y="164"/>
                  </a:cxn>
                  <a:cxn ang="0">
                    <a:pos x="220" y="176"/>
                  </a:cxn>
                  <a:cxn ang="0">
                    <a:pos x="217" y="200"/>
                  </a:cxn>
                  <a:cxn ang="0">
                    <a:pos x="209" y="218"/>
                  </a:cxn>
                  <a:cxn ang="0">
                    <a:pos x="203" y="241"/>
                  </a:cxn>
                  <a:cxn ang="0">
                    <a:pos x="199" y="250"/>
                  </a:cxn>
                  <a:cxn ang="0">
                    <a:pos x="195" y="242"/>
                  </a:cxn>
                  <a:cxn ang="0">
                    <a:pos x="193" y="229"/>
                  </a:cxn>
                  <a:cxn ang="0">
                    <a:pos x="188" y="225"/>
                  </a:cxn>
                  <a:cxn ang="0">
                    <a:pos x="174" y="229"/>
                  </a:cxn>
                  <a:cxn ang="0">
                    <a:pos x="163" y="235"/>
                  </a:cxn>
                  <a:cxn ang="0">
                    <a:pos x="154" y="247"/>
                  </a:cxn>
                  <a:cxn ang="0">
                    <a:pos x="143" y="265"/>
                  </a:cxn>
                  <a:cxn ang="0">
                    <a:pos x="135" y="278"/>
                  </a:cxn>
                  <a:cxn ang="0">
                    <a:pos x="123" y="280"/>
                  </a:cxn>
                  <a:cxn ang="0">
                    <a:pos x="106" y="278"/>
                  </a:cxn>
                  <a:cxn ang="0">
                    <a:pos x="88" y="275"/>
                  </a:cxn>
                  <a:cxn ang="0">
                    <a:pos x="74" y="274"/>
                  </a:cxn>
                  <a:cxn ang="0">
                    <a:pos x="69" y="265"/>
                  </a:cxn>
                  <a:cxn ang="0">
                    <a:pos x="73" y="250"/>
                  </a:cxn>
                  <a:cxn ang="0">
                    <a:pos x="63" y="240"/>
                  </a:cxn>
                  <a:cxn ang="0">
                    <a:pos x="51" y="227"/>
                  </a:cxn>
                  <a:cxn ang="0">
                    <a:pos x="41" y="211"/>
                  </a:cxn>
                  <a:cxn ang="0">
                    <a:pos x="32" y="191"/>
                  </a:cxn>
                  <a:cxn ang="0">
                    <a:pos x="25" y="173"/>
                  </a:cxn>
                  <a:cxn ang="0">
                    <a:pos x="26" y="158"/>
                  </a:cxn>
                  <a:cxn ang="0">
                    <a:pos x="33" y="153"/>
                  </a:cxn>
                  <a:cxn ang="0">
                    <a:pos x="37" y="147"/>
                  </a:cxn>
                  <a:cxn ang="0">
                    <a:pos x="36" y="131"/>
                  </a:cxn>
                  <a:cxn ang="0">
                    <a:pos x="28" y="112"/>
                  </a:cxn>
                  <a:cxn ang="0">
                    <a:pos x="18" y="89"/>
                  </a:cxn>
                  <a:cxn ang="0">
                    <a:pos x="8" y="73"/>
                  </a:cxn>
                  <a:cxn ang="0">
                    <a:pos x="2" y="54"/>
                  </a:cxn>
                  <a:cxn ang="0">
                    <a:pos x="0" y="28"/>
                  </a:cxn>
                  <a:cxn ang="0">
                    <a:pos x="2" y="4"/>
                  </a:cxn>
                  <a:cxn ang="0">
                    <a:pos x="16" y="0"/>
                  </a:cxn>
                </a:cxnLst>
                <a:rect l="0" t="0" r="r" b="b"/>
                <a:pathLst>
                  <a:path w="257" h="280">
                    <a:moveTo>
                      <a:pt x="16" y="0"/>
                    </a:moveTo>
                    <a:lnTo>
                      <a:pt x="23" y="1"/>
                    </a:lnTo>
                    <a:lnTo>
                      <a:pt x="31" y="4"/>
                    </a:lnTo>
                    <a:lnTo>
                      <a:pt x="39" y="9"/>
                    </a:lnTo>
                    <a:lnTo>
                      <a:pt x="48" y="15"/>
                    </a:lnTo>
                    <a:lnTo>
                      <a:pt x="58" y="22"/>
                    </a:lnTo>
                    <a:lnTo>
                      <a:pt x="66" y="26"/>
                    </a:lnTo>
                    <a:lnTo>
                      <a:pt x="74" y="28"/>
                    </a:lnTo>
                    <a:lnTo>
                      <a:pt x="81" y="29"/>
                    </a:lnTo>
                    <a:lnTo>
                      <a:pt x="90" y="33"/>
                    </a:lnTo>
                    <a:lnTo>
                      <a:pt x="101" y="36"/>
                    </a:lnTo>
                    <a:lnTo>
                      <a:pt x="120" y="46"/>
                    </a:lnTo>
                    <a:lnTo>
                      <a:pt x="127" y="50"/>
                    </a:lnTo>
                    <a:lnTo>
                      <a:pt x="136" y="51"/>
                    </a:lnTo>
                    <a:lnTo>
                      <a:pt x="144" y="48"/>
                    </a:lnTo>
                    <a:lnTo>
                      <a:pt x="151" y="42"/>
                    </a:lnTo>
                    <a:lnTo>
                      <a:pt x="157" y="39"/>
                    </a:lnTo>
                    <a:lnTo>
                      <a:pt x="161" y="38"/>
                    </a:lnTo>
                    <a:lnTo>
                      <a:pt x="164" y="38"/>
                    </a:lnTo>
                    <a:lnTo>
                      <a:pt x="168" y="39"/>
                    </a:lnTo>
                    <a:lnTo>
                      <a:pt x="173" y="43"/>
                    </a:lnTo>
                    <a:lnTo>
                      <a:pt x="180" y="45"/>
                    </a:lnTo>
                    <a:lnTo>
                      <a:pt x="186" y="45"/>
                    </a:lnTo>
                    <a:lnTo>
                      <a:pt x="191" y="42"/>
                    </a:lnTo>
                    <a:lnTo>
                      <a:pt x="198" y="40"/>
                    </a:lnTo>
                    <a:lnTo>
                      <a:pt x="206" y="35"/>
                    </a:lnTo>
                    <a:lnTo>
                      <a:pt x="224" y="22"/>
                    </a:lnTo>
                    <a:lnTo>
                      <a:pt x="234" y="18"/>
                    </a:lnTo>
                    <a:lnTo>
                      <a:pt x="241" y="18"/>
                    </a:lnTo>
                    <a:lnTo>
                      <a:pt x="247" y="22"/>
                    </a:lnTo>
                    <a:lnTo>
                      <a:pt x="250" y="27"/>
                    </a:lnTo>
                    <a:lnTo>
                      <a:pt x="253" y="33"/>
                    </a:lnTo>
                    <a:lnTo>
                      <a:pt x="255" y="37"/>
                    </a:lnTo>
                    <a:lnTo>
                      <a:pt x="255" y="40"/>
                    </a:lnTo>
                    <a:lnTo>
                      <a:pt x="256" y="48"/>
                    </a:lnTo>
                    <a:lnTo>
                      <a:pt x="256" y="73"/>
                    </a:lnTo>
                    <a:lnTo>
                      <a:pt x="257" y="88"/>
                    </a:lnTo>
                    <a:lnTo>
                      <a:pt x="257" y="101"/>
                    </a:lnTo>
                    <a:lnTo>
                      <a:pt x="255" y="112"/>
                    </a:lnTo>
                    <a:lnTo>
                      <a:pt x="250" y="124"/>
                    </a:lnTo>
                    <a:lnTo>
                      <a:pt x="243" y="136"/>
                    </a:lnTo>
                    <a:lnTo>
                      <a:pt x="236" y="146"/>
                    </a:lnTo>
                    <a:lnTo>
                      <a:pt x="229" y="156"/>
                    </a:lnTo>
                    <a:lnTo>
                      <a:pt x="224" y="164"/>
                    </a:lnTo>
                    <a:lnTo>
                      <a:pt x="221" y="169"/>
                    </a:lnTo>
                    <a:lnTo>
                      <a:pt x="220" y="176"/>
                    </a:lnTo>
                    <a:lnTo>
                      <a:pt x="219" y="187"/>
                    </a:lnTo>
                    <a:lnTo>
                      <a:pt x="217" y="200"/>
                    </a:lnTo>
                    <a:lnTo>
                      <a:pt x="214" y="211"/>
                    </a:lnTo>
                    <a:lnTo>
                      <a:pt x="209" y="218"/>
                    </a:lnTo>
                    <a:lnTo>
                      <a:pt x="205" y="225"/>
                    </a:lnTo>
                    <a:lnTo>
                      <a:pt x="203" y="241"/>
                    </a:lnTo>
                    <a:lnTo>
                      <a:pt x="201" y="248"/>
                    </a:lnTo>
                    <a:lnTo>
                      <a:pt x="199" y="250"/>
                    </a:lnTo>
                    <a:lnTo>
                      <a:pt x="197" y="248"/>
                    </a:lnTo>
                    <a:lnTo>
                      <a:pt x="195" y="242"/>
                    </a:lnTo>
                    <a:lnTo>
                      <a:pt x="193" y="236"/>
                    </a:lnTo>
                    <a:lnTo>
                      <a:pt x="193" y="229"/>
                    </a:lnTo>
                    <a:lnTo>
                      <a:pt x="192" y="226"/>
                    </a:lnTo>
                    <a:lnTo>
                      <a:pt x="188" y="225"/>
                    </a:lnTo>
                    <a:lnTo>
                      <a:pt x="182" y="226"/>
                    </a:lnTo>
                    <a:lnTo>
                      <a:pt x="174" y="229"/>
                    </a:lnTo>
                    <a:lnTo>
                      <a:pt x="168" y="232"/>
                    </a:lnTo>
                    <a:lnTo>
                      <a:pt x="163" y="235"/>
                    </a:lnTo>
                    <a:lnTo>
                      <a:pt x="159" y="240"/>
                    </a:lnTo>
                    <a:lnTo>
                      <a:pt x="154" y="247"/>
                    </a:lnTo>
                    <a:lnTo>
                      <a:pt x="149" y="256"/>
                    </a:lnTo>
                    <a:lnTo>
                      <a:pt x="143" y="265"/>
                    </a:lnTo>
                    <a:lnTo>
                      <a:pt x="139" y="273"/>
                    </a:lnTo>
                    <a:lnTo>
                      <a:pt x="135" y="278"/>
                    </a:lnTo>
                    <a:lnTo>
                      <a:pt x="130" y="280"/>
                    </a:lnTo>
                    <a:lnTo>
                      <a:pt x="123" y="280"/>
                    </a:lnTo>
                    <a:lnTo>
                      <a:pt x="115" y="279"/>
                    </a:lnTo>
                    <a:lnTo>
                      <a:pt x="106" y="278"/>
                    </a:lnTo>
                    <a:lnTo>
                      <a:pt x="98" y="276"/>
                    </a:lnTo>
                    <a:lnTo>
                      <a:pt x="88" y="275"/>
                    </a:lnTo>
                    <a:lnTo>
                      <a:pt x="80" y="275"/>
                    </a:lnTo>
                    <a:lnTo>
                      <a:pt x="74" y="274"/>
                    </a:lnTo>
                    <a:lnTo>
                      <a:pt x="70" y="270"/>
                    </a:lnTo>
                    <a:lnTo>
                      <a:pt x="69" y="265"/>
                    </a:lnTo>
                    <a:lnTo>
                      <a:pt x="73" y="255"/>
                    </a:lnTo>
                    <a:lnTo>
                      <a:pt x="73" y="250"/>
                    </a:lnTo>
                    <a:lnTo>
                      <a:pt x="70" y="245"/>
                    </a:lnTo>
                    <a:lnTo>
                      <a:pt x="63" y="240"/>
                    </a:lnTo>
                    <a:lnTo>
                      <a:pt x="56" y="233"/>
                    </a:lnTo>
                    <a:lnTo>
                      <a:pt x="51" y="227"/>
                    </a:lnTo>
                    <a:lnTo>
                      <a:pt x="47" y="223"/>
                    </a:lnTo>
                    <a:lnTo>
                      <a:pt x="41" y="211"/>
                    </a:lnTo>
                    <a:lnTo>
                      <a:pt x="37" y="201"/>
                    </a:lnTo>
                    <a:lnTo>
                      <a:pt x="32" y="191"/>
                    </a:lnTo>
                    <a:lnTo>
                      <a:pt x="28" y="181"/>
                    </a:lnTo>
                    <a:lnTo>
                      <a:pt x="25" y="173"/>
                    </a:lnTo>
                    <a:lnTo>
                      <a:pt x="24" y="164"/>
                    </a:lnTo>
                    <a:lnTo>
                      <a:pt x="26" y="158"/>
                    </a:lnTo>
                    <a:lnTo>
                      <a:pt x="30" y="154"/>
                    </a:lnTo>
                    <a:lnTo>
                      <a:pt x="33" y="153"/>
                    </a:lnTo>
                    <a:lnTo>
                      <a:pt x="36" y="151"/>
                    </a:lnTo>
                    <a:lnTo>
                      <a:pt x="37" y="147"/>
                    </a:lnTo>
                    <a:lnTo>
                      <a:pt x="37" y="136"/>
                    </a:lnTo>
                    <a:lnTo>
                      <a:pt x="36" y="131"/>
                    </a:lnTo>
                    <a:lnTo>
                      <a:pt x="33" y="122"/>
                    </a:lnTo>
                    <a:lnTo>
                      <a:pt x="28" y="112"/>
                    </a:lnTo>
                    <a:lnTo>
                      <a:pt x="23" y="100"/>
                    </a:lnTo>
                    <a:lnTo>
                      <a:pt x="18" y="89"/>
                    </a:lnTo>
                    <a:lnTo>
                      <a:pt x="12" y="80"/>
                    </a:lnTo>
                    <a:lnTo>
                      <a:pt x="8" y="73"/>
                    </a:lnTo>
                    <a:lnTo>
                      <a:pt x="4" y="65"/>
                    </a:lnTo>
                    <a:lnTo>
                      <a:pt x="2" y="54"/>
                    </a:lnTo>
                    <a:lnTo>
                      <a:pt x="1" y="41"/>
                    </a:lnTo>
                    <a:lnTo>
                      <a:pt x="0" y="28"/>
                    </a:lnTo>
                    <a:lnTo>
                      <a:pt x="0" y="9"/>
                    </a:lnTo>
                    <a:lnTo>
                      <a:pt x="2" y="4"/>
                    </a:lnTo>
                    <a:lnTo>
                      <a:pt x="8" y="1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Freeform 16"/>
              <p:cNvSpPr>
                <a:spLocks/>
              </p:cNvSpPr>
              <p:nvPr/>
            </p:nvSpPr>
            <p:spPr bwMode="auto">
              <a:xfrm>
                <a:off x="7323138" y="5659438"/>
                <a:ext cx="28575" cy="5556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9" y="0"/>
                  </a:cxn>
                  <a:cxn ang="0">
                    <a:pos x="14" y="3"/>
                  </a:cxn>
                  <a:cxn ang="0">
                    <a:pos x="17" y="8"/>
                  </a:cxn>
                  <a:cxn ang="0">
                    <a:pos x="18" y="15"/>
                  </a:cxn>
                  <a:cxn ang="0">
                    <a:pos x="17" y="22"/>
                  </a:cxn>
                  <a:cxn ang="0">
                    <a:pos x="15" y="28"/>
                  </a:cxn>
                  <a:cxn ang="0">
                    <a:pos x="12" y="33"/>
                  </a:cxn>
                  <a:cxn ang="0">
                    <a:pos x="10" y="35"/>
                  </a:cxn>
                  <a:cxn ang="0">
                    <a:pos x="7" y="34"/>
                  </a:cxn>
                  <a:cxn ang="0">
                    <a:pos x="5" y="29"/>
                  </a:cxn>
                  <a:cxn ang="0">
                    <a:pos x="2" y="23"/>
                  </a:cxn>
                  <a:cxn ang="0">
                    <a:pos x="0" y="9"/>
                  </a:cxn>
                  <a:cxn ang="0">
                    <a:pos x="1" y="4"/>
                  </a:cxn>
                  <a:cxn ang="0">
                    <a:pos x="4" y="0"/>
                  </a:cxn>
                </a:cxnLst>
                <a:rect l="0" t="0" r="r" b="b"/>
                <a:pathLst>
                  <a:path w="18" h="35">
                    <a:moveTo>
                      <a:pt x="4" y="0"/>
                    </a:moveTo>
                    <a:lnTo>
                      <a:pt x="9" y="0"/>
                    </a:lnTo>
                    <a:lnTo>
                      <a:pt x="14" y="3"/>
                    </a:lnTo>
                    <a:lnTo>
                      <a:pt x="17" y="8"/>
                    </a:lnTo>
                    <a:lnTo>
                      <a:pt x="18" y="15"/>
                    </a:lnTo>
                    <a:lnTo>
                      <a:pt x="17" y="22"/>
                    </a:lnTo>
                    <a:lnTo>
                      <a:pt x="15" y="28"/>
                    </a:lnTo>
                    <a:lnTo>
                      <a:pt x="12" y="33"/>
                    </a:lnTo>
                    <a:lnTo>
                      <a:pt x="10" y="35"/>
                    </a:lnTo>
                    <a:lnTo>
                      <a:pt x="7" y="34"/>
                    </a:lnTo>
                    <a:lnTo>
                      <a:pt x="5" y="29"/>
                    </a:lnTo>
                    <a:lnTo>
                      <a:pt x="2" y="23"/>
                    </a:lnTo>
                    <a:lnTo>
                      <a:pt x="0" y="9"/>
                    </a:lnTo>
                    <a:lnTo>
                      <a:pt x="1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8" name="Freeform 17"/>
              <p:cNvSpPr>
                <a:spLocks/>
              </p:cNvSpPr>
              <p:nvPr/>
            </p:nvSpPr>
            <p:spPr bwMode="auto">
              <a:xfrm>
                <a:off x="7761288" y="5726113"/>
                <a:ext cx="61913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25" y="4"/>
                  </a:cxn>
                  <a:cxn ang="0">
                    <a:pos x="31" y="10"/>
                  </a:cxn>
                  <a:cxn ang="0">
                    <a:pos x="36" y="17"/>
                  </a:cxn>
                  <a:cxn ang="0">
                    <a:pos x="39" y="24"/>
                  </a:cxn>
                  <a:cxn ang="0">
                    <a:pos x="39" y="30"/>
                  </a:cxn>
                  <a:cxn ang="0">
                    <a:pos x="38" y="33"/>
                  </a:cxn>
                  <a:cxn ang="0">
                    <a:pos x="36" y="37"/>
                  </a:cxn>
                  <a:cxn ang="0">
                    <a:pos x="33" y="40"/>
                  </a:cxn>
                  <a:cxn ang="0">
                    <a:pos x="31" y="40"/>
                  </a:cxn>
                  <a:cxn ang="0">
                    <a:pos x="29" y="39"/>
                  </a:cxn>
                  <a:cxn ang="0">
                    <a:pos x="24" y="34"/>
                  </a:cxn>
                  <a:cxn ang="0">
                    <a:pos x="19" y="28"/>
                  </a:cxn>
                  <a:cxn ang="0">
                    <a:pos x="16" y="24"/>
                  </a:cxn>
                  <a:cxn ang="0">
                    <a:pos x="14" y="21"/>
                  </a:cxn>
                  <a:cxn ang="0">
                    <a:pos x="9" y="17"/>
                  </a:cxn>
                  <a:cxn ang="0">
                    <a:pos x="3" y="13"/>
                  </a:cxn>
                  <a:cxn ang="0">
                    <a:pos x="0" y="9"/>
                  </a:cxn>
                  <a:cxn ang="0">
                    <a:pos x="2" y="5"/>
                  </a:cxn>
                  <a:cxn ang="0">
                    <a:pos x="10" y="1"/>
                  </a:cxn>
                  <a:cxn ang="0">
                    <a:pos x="18" y="0"/>
                  </a:cxn>
                </a:cxnLst>
                <a:rect l="0" t="0" r="r" b="b"/>
                <a:pathLst>
                  <a:path w="39" h="40">
                    <a:moveTo>
                      <a:pt x="18" y="0"/>
                    </a:moveTo>
                    <a:lnTo>
                      <a:pt x="25" y="4"/>
                    </a:lnTo>
                    <a:lnTo>
                      <a:pt x="31" y="10"/>
                    </a:lnTo>
                    <a:lnTo>
                      <a:pt x="36" y="17"/>
                    </a:lnTo>
                    <a:lnTo>
                      <a:pt x="39" y="24"/>
                    </a:lnTo>
                    <a:lnTo>
                      <a:pt x="39" y="30"/>
                    </a:lnTo>
                    <a:lnTo>
                      <a:pt x="38" y="33"/>
                    </a:lnTo>
                    <a:lnTo>
                      <a:pt x="36" y="37"/>
                    </a:lnTo>
                    <a:lnTo>
                      <a:pt x="33" y="40"/>
                    </a:lnTo>
                    <a:lnTo>
                      <a:pt x="31" y="40"/>
                    </a:lnTo>
                    <a:lnTo>
                      <a:pt x="29" y="39"/>
                    </a:lnTo>
                    <a:lnTo>
                      <a:pt x="24" y="34"/>
                    </a:lnTo>
                    <a:lnTo>
                      <a:pt x="19" y="28"/>
                    </a:lnTo>
                    <a:lnTo>
                      <a:pt x="16" y="24"/>
                    </a:lnTo>
                    <a:lnTo>
                      <a:pt x="14" y="21"/>
                    </a:lnTo>
                    <a:lnTo>
                      <a:pt x="9" y="17"/>
                    </a:lnTo>
                    <a:lnTo>
                      <a:pt x="3" y="13"/>
                    </a:lnTo>
                    <a:lnTo>
                      <a:pt x="0" y="9"/>
                    </a:lnTo>
                    <a:lnTo>
                      <a:pt x="2" y="5"/>
                    </a:lnTo>
                    <a:lnTo>
                      <a:pt x="10" y="1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9" name="Freeform 18"/>
              <p:cNvSpPr>
                <a:spLocks/>
              </p:cNvSpPr>
              <p:nvPr/>
            </p:nvSpPr>
            <p:spPr bwMode="auto">
              <a:xfrm>
                <a:off x="6515101" y="5000625"/>
                <a:ext cx="169863" cy="63500"/>
              </a:xfrm>
              <a:custGeom>
                <a:avLst/>
                <a:gdLst/>
                <a:ahLst/>
                <a:cxnLst>
                  <a:cxn ang="0">
                    <a:pos x="43" y="0"/>
                  </a:cxn>
                  <a:cxn ang="0">
                    <a:pos x="50" y="1"/>
                  </a:cxn>
                  <a:cxn ang="0">
                    <a:pos x="58" y="5"/>
                  </a:cxn>
                  <a:cxn ang="0">
                    <a:pos x="67" y="9"/>
                  </a:cxn>
                  <a:cxn ang="0">
                    <a:pos x="75" y="13"/>
                  </a:cxn>
                  <a:cxn ang="0">
                    <a:pos x="81" y="15"/>
                  </a:cxn>
                  <a:cxn ang="0">
                    <a:pos x="87" y="17"/>
                  </a:cxn>
                  <a:cxn ang="0">
                    <a:pos x="93" y="20"/>
                  </a:cxn>
                  <a:cxn ang="0">
                    <a:pos x="100" y="23"/>
                  </a:cxn>
                  <a:cxn ang="0">
                    <a:pos x="105" y="25"/>
                  </a:cxn>
                  <a:cxn ang="0">
                    <a:pos x="107" y="27"/>
                  </a:cxn>
                  <a:cxn ang="0">
                    <a:pos x="106" y="28"/>
                  </a:cxn>
                  <a:cxn ang="0">
                    <a:pos x="94" y="28"/>
                  </a:cxn>
                  <a:cxn ang="0">
                    <a:pos x="90" y="29"/>
                  </a:cxn>
                  <a:cxn ang="0">
                    <a:pos x="88" y="32"/>
                  </a:cxn>
                  <a:cxn ang="0">
                    <a:pos x="87" y="36"/>
                  </a:cxn>
                  <a:cxn ang="0">
                    <a:pos x="84" y="39"/>
                  </a:cxn>
                  <a:cxn ang="0">
                    <a:pos x="79" y="40"/>
                  </a:cxn>
                  <a:cxn ang="0">
                    <a:pos x="72" y="40"/>
                  </a:cxn>
                  <a:cxn ang="0">
                    <a:pos x="65" y="39"/>
                  </a:cxn>
                  <a:cxn ang="0">
                    <a:pos x="55" y="39"/>
                  </a:cxn>
                  <a:cxn ang="0">
                    <a:pos x="43" y="39"/>
                  </a:cxn>
                  <a:cxn ang="0">
                    <a:pos x="30" y="38"/>
                  </a:cxn>
                  <a:cxn ang="0">
                    <a:pos x="18" y="37"/>
                  </a:cxn>
                  <a:cxn ang="0">
                    <a:pos x="8" y="36"/>
                  </a:cxn>
                  <a:cxn ang="0">
                    <a:pos x="1" y="33"/>
                  </a:cxn>
                  <a:cxn ang="0">
                    <a:pos x="0" y="30"/>
                  </a:cxn>
                  <a:cxn ang="0">
                    <a:pos x="4" y="25"/>
                  </a:cxn>
                  <a:cxn ang="0">
                    <a:pos x="11" y="18"/>
                  </a:cxn>
                  <a:cxn ang="0">
                    <a:pos x="29" y="6"/>
                  </a:cxn>
                  <a:cxn ang="0">
                    <a:pos x="37" y="2"/>
                  </a:cxn>
                  <a:cxn ang="0">
                    <a:pos x="43" y="0"/>
                  </a:cxn>
                </a:cxnLst>
                <a:rect l="0" t="0" r="r" b="b"/>
                <a:pathLst>
                  <a:path w="107" h="40">
                    <a:moveTo>
                      <a:pt x="43" y="0"/>
                    </a:moveTo>
                    <a:lnTo>
                      <a:pt x="50" y="1"/>
                    </a:lnTo>
                    <a:lnTo>
                      <a:pt x="58" y="5"/>
                    </a:lnTo>
                    <a:lnTo>
                      <a:pt x="67" y="9"/>
                    </a:lnTo>
                    <a:lnTo>
                      <a:pt x="75" y="13"/>
                    </a:lnTo>
                    <a:lnTo>
                      <a:pt x="81" y="15"/>
                    </a:lnTo>
                    <a:lnTo>
                      <a:pt x="87" y="17"/>
                    </a:lnTo>
                    <a:lnTo>
                      <a:pt x="93" y="20"/>
                    </a:lnTo>
                    <a:lnTo>
                      <a:pt x="100" y="23"/>
                    </a:lnTo>
                    <a:lnTo>
                      <a:pt x="105" y="25"/>
                    </a:lnTo>
                    <a:lnTo>
                      <a:pt x="107" y="27"/>
                    </a:lnTo>
                    <a:lnTo>
                      <a:pt x="106" y="28"/>
                    </a:lnTo>
                    <a:lnTo>
                      <a:pt x="94" y="28"/>
                    </a:lnTo>
                    <a:lnTo>
                      <a:pt x="90" y="29"/>
                    </a:lnTo>
                    <a:lnTo>
                      <a:pt x="88" y="32"/>
                    </a:lnTo>
                    <a:lnTo>
                      <a:pt x="87" y="36"/>
                    </a:lnTo>
                    <a:lnTo>
                      <a:pt x="84" y="39"/>
                    </a:lnTo>
                    <a:lnTo>
                      <a:pt x="79" y="40"/>
                    </a:lnTo>
                    <a:lnTo>
                      <a:pt x="72" y="40"/>
                    </a:lnTo>
                    <a:lnTo>
                      <a:pt x="65" y="39"/>
                    </a:lnTo>
                    <a:lnTo>
                      <a:pt x="55" y="39"/>
                    </a:lnTo>
                    <a:lnTo>
                      <a:pt x="43" y="39"/>
                    </a:lnTo>
                    <a:lnTo>
                      <a:pt x="30" y="38"/>
                    </a:lnTo>
                    <a:lnTo>
                      <a:pt x="18" y="37"/>
                    </a:lnTo>
                    <a:lnTo>
                      <a:pt x="8" y="36"/>
                    </a:lnTo>
                    <a:lnTo>
                      <a:pt x="1" y="33"/>
                    </a:lnTo>
                    <a:lnTo>
                      <a:pt x="0" y="30"/>
                    </a:lnTo>
                    <a:lnTo>
                      <a:pt x="4" y="25"/>
                    </a:lnTo>
                    <a:lnTo>
                      <a:pt x="11" y="18"/>
                    </a:lnTo>
                    <a:lnTo>
                      <a:pt x="29" y="6"/>
                    </a:lnTo>
                    <a:lnTo>
                      <a:pt x="37" y="2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0" name="Oval 149"/>
            <p:cNvSpPr/>
            <p:nvPr/>
          </p:nvSpPr>
          <p:spPr>
            <a:xfrm>
              <a:off x="2572178" y="5492371"/>
              <a:ext cx="91380" cy="91380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b="1">
                <a:solidFill>
                  <a:prstClr val="white"/>
                </a:solidFill>
              </a:endParaRPr>
            </a:p>
          </p:txBody>
        </p:sp>
        <p:sp>
          <p:nvSpPr>
            <p:cNvPr id="151" name="Rounded Rectangle 150"/>
            <p:cNvSpPr/>
            <p:nvPr/>
          </p:nvSpPr>
          <p:spPr>
            <a:xfrm>
              <a:off x="2018783" y="5142208"/>
              <a:ext cx="1021970" cy="280324"/>
            </a:xfrm>
            <a:prstGeom prst="roundRect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solidFill>
                    <a:prstClr val="white"/>
                  </a:solidFill>
                  <a:latin typeface="Arial" charset="0"/>
                  <a:ea typeface="Arial" charset="0"/>
                  <a:cs typeface="Arial" charset="0"/>
                </a:rPr>
                <a:t>Adelaide</a:t>
              </a:r>
              <a:endParaRPr lang="en-US" sz="1200" b="1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859274" y="431095"/>
            <a:ext cx="8648713" cy="4970213"/>
            <a:chOff x="3732523" y="431095"/>
            <a:chExt cx="7775464" cy="4468377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32523" y="431095"/>
              <a:ext cx="7775464" cy="4468377"/>
            </a:xfrm>
            <a:prstGeom prst="rect">
              <a:avLst/>
            </a:prstGeom>
            <a:effectLst/>
          </p:spPr>
        </p:pic>
        <p:sp>
          <p:nvSpPr>
            <p:cNvPr id="9" name="Rectangle 8"/>
            <p:cNvSpPr/>
            <p:nvPr/>
          </p:nvSpPr>
          <p:spPr>
            <a:xfrm>
              <a:off x="3732523" y="4419600"/>
              <a:ext cx="2266495" cy="4798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721868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4295" y="0"/>
            <a:ext cx="12237655" cy="6877307"/>
          </a:xfrm>
          <a:prstGeom prst="rect">
            <a:avLst/>
          </a:prstGeom>
        </p:spPr>
      </p:pic>
      <p:sp>
        <p:nvSpPr>
          <p:cNvPr id="3" name="Rectangle: Rounded Corners 2"/>
          <p:cNvSpPr/>
          <p:nvPr/>
        </p:nvSpPr>
        <p:spPr>
          <a:xfrm>
            <a:off x="585217" y="399245"/>
            <a:ext cx="11379256" cy="2142787"/>
          </a:xfrm>
          <a:prstGeom prst="roundRect">
            <a:avLst/>
          </a:prstGeom>
          <a:solidFill>
            <a:schemeClr val="tx1">
              <a:alpha val="4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805815" y="662940"/>
            <a:ext cx="43776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ne 26-28, 2017</a:t>
            </a:r>
            <a:br>
              <a:rPr 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stin, Texas</a:t>
            </a:r>
          </a:p>
          <a:p>
            <a:r>
              <a:rPr 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00 attende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8499" y="1"/>
            <a:ext cx="6396775" cy="3005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301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629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87439"/>
            <a:ext cx="2540004" cy="670561"/>
          </a:xfrm>
          <a:prstGeom prst="rect">
            <a:avLst/>
          </a:prstGeom>
          <a:noFill/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33012" y="6203782"/>
            <a:ext cx="2540004" cy="65882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133676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3428" y="0"/>
            <a:ext cx="3642348" cy="241880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273793"/>
            <a:ext cx="3175279" cy="240018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00905" y="4335864"/>
            <a:ext cx="3652575" cy="21545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712787" cy="246583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3428" y="4285489"/>
            <a:ext cx="3689601" cy="23714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0170" y="0"/>
            <a:ext cx="3543310" cy="235356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910" y="2522396"/>
            <a:ext cx="3712866" cy="100741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50725" y="2971680"/>
            <a:ext cx="1204127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Next-gen applications and services leveraging advanced</a:t>
            </a:r>
            <a:r>
              <a:rPr kumimoji="0" lang="en-US" sz="2200" b="0" i="0" u="none" strike="noStrike" kern="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networking technologies</a:t>
            </a:r>
            <a:b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 smart and connected communities</a:t>
            </a:r>
          </a:p>
        </p:txBody>
      </p:sp>
    </p:spTree>
    <p:extLst>
      <p:ext uri="{BB962C8B-B14F-4D97-AF65-F5344CB8AC3E}">
        <p14:creationId xmlns:p14="http://schemas.microsoft.com/office/powerpoint/2010/main" val="112169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390" y="614813"/>
            <a:ext cx="3712866" cy="100741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65438" b="29079"/>
          <a:stretch/>
        </p:blipFill>
        <p:spPr>
          <a:xfrm>
            <a:off x="9616074" y="1833824"/>
            <a:ext cx="2190889" cy="2518160"/>
          </a:xfrm>
          <a:prstGeom prst="rect">
            <a:avLst/>
          </a:prstGeom>
        </p:spPr>
      </p:pic>
      <p:pic>
        <p:nvPicPr>
          <p:cNvPr id="5122" name="Picture 2" descr="https://www.cloudlab.us/img/cloudlab-big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4131" y="1973309"/>
            <a:ext cx="2687100" cy="467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405965" y="2419822"/>
            <a:ext cx="23867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reach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502" y="1838660"/>
            <a:ext cx="3475789" cy="121514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7861" y="1833824"/>
            <a:ext cx="1864163" cy="18573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99201" y="5714940"/>
            <a:ext cx="1733550" cy="58976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189053" y="5097318"/>
            <a:ext cx="231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In partnership with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43535" y="5488860"/>
            <a:ext cx="1195125" cy="1195125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008158" y="6164664"/>
            <a:ext cx="2009671" cy="59787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720390" y="5093687"/>
            <a:ext cx="6581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with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01898" y="5508786"/>
            <a:ext cx="1195125" cy="1195125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0440227" y="5123179"/>
            <a:ext cx="6581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with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66924" y="5476816"/>
            <a:ext cx="1195125" cy="1195125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649748" y="5086943"/>
            <a:ext cx="6581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with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78831" y="5405666"/>
            <a:ext cx="1208312" cy="120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48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629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87439"/>
            <a:ext cx="2540004" cy="670561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-17328" y="-94511"/>
            <a:ext cx="12489744" cy="6962987"/>
          </a:xfrm>
          <a:prstGeom prst="rect">
            <a:avLst/>
          </a:prstGeom>
          <a:solidFill>
            <a:schemeClr val="tx1">
              <a:alpha val="3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97915"/>
            <a:ext cx="2540004" cy="670561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5817996" y="557144"/>
            <a:ext cx="633548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20 communities sharing smart applications</a:t>
            </a:r>
          </a:p>
          <a:p>
            <a:r>
              <a:rPr lang="en-US" sz="2400" dirty="0">
                <a:solidFill>
                  <a:schemeClr val="bg1"/>
                </a:solidFill>
              </a:rPr>
              <a:t>	Healthcare, Education, Public Safety,</a:t>
            </a:r>
          </a:p>
          <a:p>
            <a:r>
              <a:rPr lang="en-US" sz="2400" dirty="0">
                <a:solidFill>
                  <a:schemeClr val="bg1"/>
                </a:solidFill>
              </a:rPr>
              <a:t>	Transportation, Energy, Industrial Internet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	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134" y="571993"/>
            <a:ext cx="5068520" cy="1771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2174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629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87439"/>
            <a:ext cx="2540004" cy="670561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-17328" y="-94511"/>
            <a:ext cx="12489744" cy="6962987"/>
          </a:xfrm>
          <a:prstGeom prst="rect">
            <a:avLst/>
          </a:prstGeom>
          <a:solidFill>
            <a:schemeClr val="tx1">
              <a:alpha val="3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97915"/>
            <a:ext cx="2540004" cy="670561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5817996" y="557144"/>
            <a:ext cx="633548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Engaged Community Partnerships</a:t>
            </a:r>
          </a:p>
          <a:p>
            <a:r>
              <a:rPr lang="en-US" sz="2400" dirty="0">
                <a:solidFill>
                  <a:schemeClr val="bg1"/>
                </a:solidFill>
              </a:rPr>
              <a:t>	Civic</a:t>
            </a:r>
          </a:p>
          <a:p>
            <a:r>
              <a:rPr lang="en-US" sz="2400" dirty="0">
                <a:solidFill>
                  <a:schemeClr val="bg1"/>
                </a:solidFill>
              </a:rPr>
              <a:t>	University</a:t>
            </a:r>
          </a:p>
          <a:p>
            <a:r>
              <a:rPr lang="en-US" sz="2400" dirty="0">
                <a:solidFill>
                  <a:schemeClr val="bg1"/>
                </a:solidFill>
              </a:rPr>
              <a:t>	Chamber</a:t>
            </a:r>
          </a:p>
          <a:p>
            <a:r>
              <a:rPr lang="en-US" sz="2400" dirty="0">
                <a:solidFill>
                  <a:schemeClr val="bg1"/>
                </a:solidFill>
              </a:rPr>
              <a:t>	Volunteers</a:t>
            </a:r>
          </a:p>
          <a:p>
            <a:r>
              <a:rPr lang="en-US" sz="2400" dirty="0">
                <a:solidFill>
                  <a:schemeClr val="bg1"/>
                </a:solidFill>
              </a:rPr>
              <a:t>	Community foundations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	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134" y="571993"/>
            <a:ext cx="5068520" cy="1771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1199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629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87439"/>
            <a:ext cx="2540004" cy="670561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-17328" y="-94511"/>
            <a:ext cx="12489744" cy="6962987"/>
          </a:xfrm>
          <a:prstGeom prst="rect">
            <a:avLst/>
          </a:prstGeom>
          <a:solidFill>
            <a:schemeClr val="tx1">
              <a:alpha val="3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97915"/>
            <a:ext cx="2540004" cy="670561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5817996" y="557144"/>
            <a:ext cx="633548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Educa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134" y="571993"/>
            <a:ext cx="5068520" cy="177196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134" y="2607976"/>
            <a:ext cx="5403342" cy="408437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98" t="13400" b="13489"/>
          <a:stretch/>
        </p:blipFill>
        <p:spPr>
          <a:xfrm>
            <a:off x="6144338" y="1689163"/>
            <a:ext cx="5682800" cy="3157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9113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629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87439"/>
            <a:ext cx="2540004" cy="670561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-17328" y="-94511"/>
            <a:ext cx="12489744" cy="6962987"/>
          </a:xfrm>
          <a:prstGeom prst="rect">
            <a:avLst/>
          </a:prstGeom>
          <a:solidFill>
            <a:schemeClr val="tx1">
              <a:alpha val="3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>
          <a:xfrm>
            <a:off x="9156574" y="317531"/>
            <a:ext cx="2816442" cy="351234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97915"/>
            <a:ext cx="2540004" cy="670561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5817996" y="557144"/>
            <a:ext cx="633548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Healthcar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134" y="571993"/>
            <a:ext cx="5068520" cy="177196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436990" y="500307"/>
            <a:ext cx="2036457" cy="305468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18488" y="1547527"/>
            <a:ext cx="3434455" cy="228235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6134" y="3456248"/>
            <a:ext cx="5216283" cy="30769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8"/>
          <a:srcRect l="30209" r="37614"/>
          <a:stretch/>
        </p:blipFill>
        <p:spPr>
          <a:xfrm>
            <a:off x="7279272" y="3238729"/>
            <a:ext cx="2054087" cy="361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096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629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87439"/>
            <a:ext cx="2540004" cy="670561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-17328" y="-94511"/>
            <a:ext cx="12489744" cy="6962987"/>
          </a:xfrm>
          <a:prstGeom prst="rect">
            <a:avLst/>
          </a:prstGeom>
          <a:solidFill>
            <a:schemeClr val="tx1">
              <a:alpha val="3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012" y="6197915"/>
            <a:ext cx="2540004" cy="67056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341645" y="493427"/>
            <a:ext cx="6081298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accent2"/>
                </a:solidFill>
              </a:rPr>
              <a:t>Low-Latency</a:t>
            </a:r>
          </a:p>
          <a:p>
            <a:r>
              <a:rPr lang="en-US" sz="4000" b="1" dirty="0">
                <a:solidFill>
                  <a:schemeClr val="accent2"/>
                </a:solidFill>
              </a:rPr>
              <a:t>Applications</a:t>
            </a:r>
          </a:p>
          <a:p>
            <a:r>
              <a:rPr lang="en-US" sz="2800" b="1" dirty="0">
                <a:solidFill>
                  <a:schemeClr val="accent2"/>
                </a:solidFill>
              </a:rPr>
              <a:t>For smart and connected communiti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17996" y="557144"/>
            <a:ext cx="6335485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Streaming virtual and augmented reality</a:t>
            </a:r>
          </a:p>
          <a:p>
            <a:r>
              <a:rPr lang="en-US" sz="2400" dirty="0">
                <a:solidFill>
                  <a:schemeClr val="bg1"/>
                </a:solidFill>
              </a:rPr>
              <a:t>Interactive 4K video</a:t>
            </a:r>
          </a:p>
          <a:p>
            <a:r>
              <a:rPr lang="en-US" sz="2400" dirty="0">
                <a:solidFill>
                  <a:schemeClr val="bg1"/>
                </a:solidFill>
              </a:rPr>
              <a:t>Personal assistants think faster than you do</a:t>
            </a:r>
          </a:p>
          <a:p>
            <a:r>
              <a:rPr lang="en-US" sz="2400" dirty="0">
                <a:solidFill>
                  <a:schemeClr val="bg1"/>
                </a:solidFill>
              </a:rPr>
              <a:t>Intra-beat cardiac monitoring</a:t>
            </a:r>
          </a:p>
          <a:p>
            <a:r>
              <a:rPr lang="en-US" sz="2400" dirty="0">
                <a:solidFill>
                  <a:schemeClr val="bg1"/>
                </a:solidFill>
              </a:rPr>
              <a:t>Streaming intelligence to inexpensive robots</a:t>
            </a:r>
          </a:p>
          <a:p>
            <a:r>
              <a:rPr lang="en-US" sz="2400" dirty="0" err="1">
                <a:solidFill>
                  <a:schemeClr val="bg1"/>
                </a:solidFill>
              </a:rPr>
              <a:t>Microgrid</a:t>
            </a:r>
            <a:r>
              <a:rPr lang="en-US" sz="2400" dirty="0">
                <a:solidFill>
                  <a:schemeClr val="bg1"/>
                </a:solidFill>
              </a:rPr>
              <a:t> millisecond coordination</a:t>
            </a:r>
          </a:p>
          <a:p>
            <a:r>
              <a:rPr lang="en-US" sz="2400" dirty="0">
                <a:solidFill>
                  <a:schemeClr val="bg1"/>
                </a:solidFill>
              </a:rPr>
              <a:t>City-wide optimized autonomous vehicles</a:t>
            </a:r>
          </a:p>
          <a:p>
            <a:r>
              <a:rPr lang="en-US" sz="2400" dirty="0">
                <a:solidFill>
                  <a:schemeClr val="bg1"/>
                </a:solidFill>
              </a:rPr>
              <a:t>Hospital-quality in-home health monitor</a:t>
            </a:r>
          </a:p>
          <a:p>
            <a:r>
              <a:rPr lang="en-US" sz="2400" dirty="0">
                <a:solidFill>
                  <a:schemeClr val="bg1"/>
                </a:solidFill>
              </a:rPr>
              <a:t>Real-time public safety information fusion</a:t>
            </a:r>
          </a:p>
          <a:p>
            <a:r>
              <a:rPr lang="en-US" sz="2400" dirty="0">
                <a:solidFill>
                  <a:schemeClr val="bg1"/>
                </a:solidFill>
              </a:rPr>
              <a:t>Dynamically optimized emergency response</a:t>
            </a:r>
          </a:p>
          <a:p>
            <a:r>
              <a:rPr lang="en-US" sz="2400" dirty="0">
                <a:solidFill>
                  <a:schemeClr val="bg1"/>
                </a:solidFill>
              </a:rPr>
              <a:t>Interactive &amp; collaborative 3D model design</a:t>
            </a:r>
          </a:p>
          <a:p>
            <a:r>
              <a:rPr lang="en-US" sz="2400" dirty="0">
                <a:solidFill>
                  <a:schemeClr val="bg1"/>
                </a:solidFill>
              </a:rPr>
              <a:t>3D </a:t>
            </a:r>
            <a:r>
              <a:rPr lang="en-US" sz="2400" dirty="0" err="1">
                <a:solidFill>
                  <a:schemeClr val="bg1"/>
                </a:solidFill>
              </a:rPr>
              <a:t>telerehabilitation</a:t>
            </a:r>
            <a:endParaRPr lang="en-US" sz="2400" dirty="0">
              <a:solidFill>
                <a:schemeClr val="bg1"/>
              </a:solidFill>
            </a:endParaRPr>
          </a:p>
          <a:p>
            <a:r>
              <a:rPr lang="en-US" sz="2400" dirty="0">
                <a:solidFill>
                  <a:schemeClr val="bg1"/>
                </a:solidFill>
              </a:rPr>
              <a:t>“Natural” Teleconferencing</a:t>
            </a:r>
          </a:p>
        </p:txBody>
      </p:sp>
    </p:spTree>
    <p:extLst>
      <p:ext uri="{BB962C8B-B14F-4D97-AF65-F5344CB8AC3E}">
        <p14:creationId xmlns:p14="http://schemas.microsoft.com/office/powerpoint/2010/main" val="23868153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24840" y="3840480"/>
            <a:ext cx="10942320" cy="0"/>
          </a:xfrm>
          <a:prstGeom prst="line">
            <a:avLst/>
          </a:prstGeom>
          <a:ln w="762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24840" y="3489960"/>
            <a:ext cx="0" cy="6248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2011680" y="3528060"/>
            <a:ext cx="0" cy="6248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368040" y="3528060"/>
            <a:ext cx="0" cy="6248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770120" y="3528060"/>
            <a:ext cx="0" cy="6248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6080760" y="3528060"/>
            <a:ext cx="0" cy="6248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7482840" y="3528060"/>
            <a:ext cx="0" cy="6248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8823960" y="3528060"/>
            <a:ext cx="0" cy="6248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0226040" y="3528060"/>
            <a:ext cx="0" cy="6248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1567160" y="3528060"/>
            <a:ext cx="0" cy="6248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121920" y="4169926"/>
            <a:ext cx="11917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 </a:t>
            </a:r>
            <a:r>
              <a:rPr lang="en-US" dirty="0" err="1"/>
              <a:t>nsec</a:t>
            </a:r>
            <a:r>
              <a:rPr lang="en-US" dirty="0"/>
              <a:t>         1µsec          10µsec          100µsec        1msec          10 </a:t>
            </a:r>
            <a:r>
              <a:rPr lang="en-US" dirty="0" err="1"/>
              <a:t>msec</a:t>
            </a:r>
            <a:r>
              <a:rPr lang="en-US" dirty="0"/>
              <a:t>        100 </a:t>
            </a:r>
            <a:r>
              <a:rPr lang="en-US" dirty="0" err="1"/>
              <a:t>msec</a:t>
            </a:r>
            <a:r>
              <a:rPr lang="en-US" dirty="0"/>
              <a:t>         1 sec          10 sec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9936480" y="3337560"/>
            <a:ext cx="990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0043160" y="2994005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b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016240" y="2996870"/>
            <a:ext cx="1493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phone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7787640" y="3352800"/>
            <a:ext cx="18288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8016240" y="2865121"/>
            <a:ext cx="6858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7482840" y="2956560"/>
            <a:ext cx="9144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368540" y="2488139"/>
            <a:ext cx="2179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aptic </a:t>
            </a:r>
            <a:r>
              <a:rPr lang="en-US" dirty="0" err="1"/>
              <a:t>telesurgery</a:t>
            </a:r>
            <a:endParaRPr lang="en-US" dirty="0"/>
          </a:p>
        </p:txBody>
      </p:sp>
      <p:cxnSp>
        <p:nvCxnSpPr>
          <p:cNvPr id="43" name="Straight Connector 42"/>
          <p:cNvCxnSpPr/>
          <p:nvPr/>
        </p:nvCxnSpPr>
        <p:spPr>
          <a:xfrm>
            <a:off x="7970521" y="2026920"/>
            <a:ext cx="56007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7437120" y="1666046"/>
            <a:ext cx="2179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rious gamers</a:t>
            </a:r>
          </a:p>
        </p:txBody>
      </p:sp>
      <p:cxnSp>
        <p:nvCxnSpPr>
          <p:cNvPr id="47" name="Straight Connector 46"/>
          <p:cNvCxnSpPr/>
          <p:nvPr/>
        </p:nvCxnSpPr>
        <p:spPr>
          <a:xfrm>
            <a:off x="7890512" y="1625699"/>
            <a:ext cx="31271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7734300" y="1256365"/>
            <a:ext cx="2179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LA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8237221" y="1097280"/>
            <a:ext cx="58674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6625435" y="911766"/>
            <a:ext cx="1771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reaming VR</a:t>
            </a:r>
          </a:p>
        </p:txBody>
      </p:sp>
      <p:cxnSp>
        <p:nvCxnSpPr>
          <p:cNvPr id="56" name="Straight Connector 55"/>
          <p:cNvCxnSpPr/>
          <p:nvPr/>
        </p:nvCxnSpPr>
        <p:spPr>
          <a:xfrm>
            <a:off x="7871461" y="645063"/>
            <a:ext cx="58674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9243060" y="645063"/>
            <a:ext cx="609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6526531" y="267923"/>
            <a:ext cx="3863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nected Collaboration  Skype</a:t>
            </a:r>
          </a:p>
        </p:txBody>
      </p:sp>
      <p:cxnSp>
        <p:nvCxnSpPr>
          <p:cNvPr id="63" name="Straight Connector 62"/>
          <p:cNvCxnSpPr/>
          <p:nvPr/>
        </p:nvCxnSpPr>
        <p:spPr>
          <a:xfrm>
            <a:off x="8046720" y="2423160"/>
            <a:ext cx="64008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7330440" y="2082525"/>
            <a:ext cx="2804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uman robotic control</a:t>
            </a:r>
          </a:p>
        </p:txBody>
      </p:sp>
      <p:cxnSp>
        <p:nvCxnSpPr>
          <p:cNvPr id="66" name="Straight Connector 65"/>
          <p:cNvCxnSpPr/>
          <p:nvPr/>
        </p:nvCxnSpPr>
        <p:spPr>
          <a:xfrm>
            <a:off x="5547360" y="3368040"/>
            <a:ext cx="146304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5318760" y="3009930"/>
            <a:ext cx="2179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Synchrophasors</a:t>
            </a:r>
            <a:endParaRPr lang="en-US" dirty="0"/>
          </a:p>
        </p:txBody>
      </p:sp>
      <p:cxnSp>
        <p:nvCxnSpPr>
          <p:cNvPr id="69" name="Straight Connector 68"/>
          <p:cNvCxnSpPr/>
          <p:nvPr/>
        </p:nvCxnSpPr>
        <p:spPr>
          <a:xfrm>
            <a:off x="5562600" y="2910840"/>
            <a:ext cx="158496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4770122" y="2553833"/>
            <a:ext cx="2503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ehicle motion control</a:t>
            </a:r>
          </a:p>
        </p:txBody>
      </p:sp>
      <p:cxnSp>
        <p:nvCxnSpPr>
          <p:cNvPr id="72" name="Straight Connector 71"/>
          <p:cNvCxnSpPr/>
          <p:nvPr/>
        </p:nvCxnSpPr>
        <p:spPr>
          <a:xfrm>
            <a:off x="5562600" y="2392680"/>
            <a:ext cx="176784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5402580" y="2044313"/>
            <a:ext cx="22609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5G response time</a:t>
            </a:r>
          </a:p>
        </p:txBody>
      </p:sp>
      <p:cxnSp>
        <p:nvCxnSpPr>
          <p:cNvPr id="76" name="Straight Connector 75"/>
          <p:cNvCxnSpPr/>
          <p:nvPr/>
        </p:nvCxnSpPr>
        <p:spPr>
          <a:xfrm>
            <a:off x="2819400" y="3368040"/>
            <a:ext cx="126492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2727960" y="2955685"/>
            <a:ext cx="2331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igh speed trading</a:t>
            </a:r>
          </a:p>
        </p:txBody>
      </p:sp>
      <p:cxnSp>
        <p:nvCxnSpPr>
          <p:cNvPr id="79" name="Straight Connector 78"/>
          <p:cNvCxnSpPr/>
          <p:nvPr/>
        </p:nvCxnSpPr>
        <p:spPr>
          <a:xfrm>
            <a:off x="1310640" y="3383280"/>
            <a:ext cx="126492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594360" y="2955685"/>
            <a:ext cx="2331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door geolocation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7010401" y="1256367"/>
            <a:ext cx="1285289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8160951" y="739994"/>
            <a:ext cx="2697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D </a:t>
            </a:r>
            <a:r>
              <a:rPr lang="en-US" dirty="0" err="1"/>
              <a:t>telerehabilitation</a:t>
            </a:r>
            <a:endParaRPr lang="en-US" dirty="0"/>
          </a:p>
        </p:txBody>
      </p:sp>
      <p:cxnSp>
        <p:nvCxnSpPr>
          <p:cNvPr id="48" name="Straight Connector 47"/>
          <p:cNvCxnSpPr/>
          <p:nvPr/>
        </p:nvCxnSpPr>
        <p:spPr>
          <a:xfrm>
            <a:off x="9295813" y="1625699"/>
            <a:ext cx="32062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9151552" y="1221810"/>
            <a:ext cx="2937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bcam internal latency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7087627" y="4655527"/>
            <a:ext cx="2543028" cy="0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9718431" y="4655527"/>
            <a:ext cx="2370992" cy="0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/>
          <p:nvPr/>
        </p:nvCxnSpPr>
        <p:spPr>
          <a:xfrm>
            <a:off x="3466013" y="5164015"/>
            <a:ext cx="8623412" cy="0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561829" y="4655527"/>
            <a:ext cx="6448571" cy="0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94544" y="4671622"/>
            <a:ext cx="117948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                                         Digital                                                               Biological                         Annoying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295690" y="5193378"/>
            <a:ext cx="12140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hysica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22515" y="509452"/>
            <a:ext cx="5190308" cy="140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dirty="0">
                <a:solidFill>
                  <a:schemeClr val="accent2">
                    <a:lumMod val="75000"/>
                  </a:schemeClr>
                </a:solidFill>
              </a:rPr>
              <a:t>Latency Requirements</a:t>
            </a:r>
          </a:p>
        </p:txBody>
      </p:sp>
    </p:spTree>
    <p:extLst>
      <p:ext uri="{BB962C8B-B14F-4D97-AF65-F5344CB8AC3E}">
        <p14:creationId xmlns:p14="http://schemas.microsoft.com/office/powerpoint/2010/main" val="28641901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621</TotalTime>
  <Words>468</Words>
  <Application>Microsoft Office PowerPoint</Application>
  <PresentationFormat>Widescreen</PresentationFormat>
  <Paragraphs>175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9" baseType="lpstr">
      <vt:lpstr>微软雅黑</vt:lpstr>
      <vt:lpstr>ＭＳ Ｐゴシック</vt:lpstr>
      <vt:lpstr>Arial</vt:lpstr>
      <vt:lpstr>Calibre Regular</vt:lpstr>
      <vt:lpstr>Calibri</vt:lpstr>
      <vt:lpstr>Calibri Light</vt:lpstr>
      <vt:lpstr>Kozuka Gothic Pro L</vt:lpstr>
      <vt:lpstr>Qualcomm Office Bold</vt:lpstr>
      <vt:lpstr>Qualcomm Office Regular</vt:lpstr>
      <vt:lpstr>Qualcomm Regular</vt:lpstr>
      <vt:lpstr>黑体</vt:lpstr>
      <vt:lpstr>Trebuchet MS</vt:lpstr>
      <vt:lpstr>Wingdings</vt:lpstr>
      <vt:lpstr>USI-PPT-Template</vt:lpstr>
      <vt:lpstr>1_Custom Design</vt:lpstr>
      <vt:lpstr>Custom Design</vt:lpstr>
      <vt:lpstr>2_Qualcomm_Template_Executive</vt:lpstr>
      <vt:lpstr>1_Qualcomm_Template_Executive</vt:lpstr>
      <vt:lpstr>1_Default Desig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</dc:creator>
  <cp:lastModifiedBy>Glenn Ricart</cp:lastModifiedBy>
  <cp:revision>550</cp:revision>
  <cp:lastPrinted>2016-01-27T15:30:53Z</cp:lastPrinted>
  <dcterms:created xsi:type="dcterms:W3CDTF">2014-06-20T17:23:38Z</dcterms:created>
  <dcterms:modified xsi:type="dcterms:W3CDTF">2017-05-10T20:00:18Z</dcterms:modified>
</cp:coreProperties>
</file>